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2.xml" ContentType="application/vnd.openxmlformats-officedocument.presentationml.notesSlide+xml"/>
  <Override PartName="/ppt/tags/tag14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710" r:id="rId2"/>
    <p:sldMasterId id="2147483719" r:id="rId3"/>
    <p:sldMasterId id="2147483729" r:id="rId4"/>
    <p:sldMasterId id="2147483731" r:id="rId5"/>
  </p:sldMasterIdLst>
  <p:notesMasterIdLst>
    <p:notesMasterId r:id="rId33"/>
  </p:notesMasterIdLst>
  <p:handoutMasterIdLst>
    <p:handoutMasterId r:id="rId34"/>
  </p:handoutMasterIdLst>
  <p:sldIdLst>
    <p:sldId id="336" r:id="rId6"/>
    <p:sldId id="387" r:id="rId7"/>
    <p:sldId id="449" r:id="rId8"/>
    <p:sldId id="425" r:id="rId9"/>
    <p:sldId id="462" r:id="rId10"/>
    <p:sldId id="430" r:id="rId11"/>
    <p:sldId id="429" r:id="rId12"/>
    <p:sldId id="451" r:id="rId13"/>
    <p:sldId id="452" r:id="rId14"/>
    <p:sldId id="453" r:id="rId15"/>
    <p:sldId id="454" r:id="rId16"/>
    <p:sldId id="455" r:id="rId17"/>
    <p:sldId id="456" r:id="rId18"/>
    <p:sldId id="457" r:id="rId19"/>
    <p:sldId id="458" r:id="rId20"/>
    <p:sldId id="426" r:id="rId21"/>
    <p:sldId id="450" r:id="rId22"/>
    <p:sldId id="460" r:id="rId23"/>
    <p:sldId id="461" r:id="rId24"/>
    <p:sldId id="427" r:id="rId25"/>
    <p:sldId id="463" r:id="rId26"/>
    <p:sldId id="459" r:id="rId27"/>
    <p:sldId id="468" r:id="rId28"/>
    <p:sldId id="465" r:id="rId29"/>
    <p:sldId id="467" r:id="rId30"/>
    <p:sldId id="464" r:id="rId31"/>
    <p:sldId id="466" r:id="rId32"/>
  </p:sldIdLst>
  <p:sldSz cx="9144000" cy="6858000" type="screen4x3"/>
  <p:notesSz cx="6946900" cy="9207500"/>
  <p:custDataLst>
    <p:tags r:id="rId3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ebecca Graves" initials="RG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  <a:srgbClr val="CCECFF"/>
    <a:srgbClr val="005AAA"/>
    <a:srgbClr val="AAAA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5117" autoAdjust="0"/>
  </p:normalViewPr>
  <p:slideViewPr>
    <p:cSldViewPr snapToGrid="0" snapToObjects="1">
      <p:cViewPr>
        <p:scale>
          <a:sx n="70" d="100"/>
          <a:sy n="70" d="100"/>
        </p:scale>
        <p:origin x="-1302" y="-96"/>
      </p:cViewPr>
      <p:guideLst>
        <p:guide orient="horz" pos="4069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18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\\florencia\Rdept\CF%20Insights\Regional%20Associations\Philanthropy%20Northwest\Data%20on%20CF%20Group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\\florencia\Rdept\CF%20Insights\Regional%20Associations\Philanthropy%20Northwest\Raw%20Data%20on%20CF%20Group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\\florencia\Rdept\CF%20Insights\Regional%20Associations\Philanthropy%20Northwest\Data%20on%20CF%20Group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\\florencia\Rdept\CF%20Insights\Regional%20Associations\Philanthropy%20Northwest\Data%20on%20CF%20Group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600" dirty="0" smtClean="0"/>
              <a:t>Community Foundations</a:t>
            </a:r>
            <a:endParaRPr lang="en-US" sz="1600" dirty="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7.6043079693687843E-2"/>
          <c:y val="0.2424917473999614"/>
          <c:w val="0.92395687446610475"/>
          <c:h val="0.6404040105661535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Fs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1.9433498224780542E-2"/>
                  <c:y val="-0.12233209278102587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$</a:t>
                    </a:r>
                    <a:r>
                      <a:rPr lang="en-US" dirty="0" smtClean="0"/>
                      <a:t>5B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4.8583745561951355E-3"/>
                  <c:y val="-0.33437438693480404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$</a:t>
                    </a:r>
                    <a:r>
                      <a:rPr lang="en-US" dirty="0" smtClean="0"/>
                      <a:t>22B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-0.3629185419170434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&quot;$&quot;#,##0" sourceLinked="0"/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3</c:f>
              <c:numCache>
                <c:formatCode>General</c:formatCode>
                <c:ptCount val="2"/>
                <c:pt idx="0">
                  <c:v>2000</c:v>
                </c:pt>
                <c:pt idx="1">
                  <c:v>2014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5</c:v>
                </c:pt>
                <c:pt idx="1">
                  <c:v>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8817152"/>
        <c:axId val="98818688"/>
      </c:barChart>
      <c:catAx>
        <c:axId val="988171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8818688"/>
        <c:crosses val="autoZero"/>
        <c:auto val="1"/>
        <c:lblAlgn val="ctr"/>
        <c:lblOffset val="100"/>
        <c:noMultiLvlLbl val="0"/>
      </c:catAx>
      <c:valAx>
        <c:axId val="9881868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9881715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600" dirty="0"/>
              <a:t>National Providers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7.6043079693687843E-2"/>
          <c:y val="0.15278149606299213"/>
          <c:w val="0.89666408832807765"/>
          <c:h val="0.7301141732283464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Fs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4.8583745561951355E-3"/>
                  <c:y val="-8.9710201372752305E-2"/>
                </c:manualLayout>
              </c:layout>
              <c:tx>
                <c:rich>
                  <a:bodyPr/>
                  <a:lstStyle/>
                  <a:p>
                    <a:r>
                      <a:rPr lang="en-US" sz="1400" dirty="0" smtClean="0"/>
                      <a:t>$3B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4.8583745561950461E-3"/>
                  <c:y val="-0.34252985978687245"/>
                </c:manualLayout>
              </c:layout>
              <c:tx>
                <c:rich>
                  <a:bodyPr/>
                  <a:lstStyle/>
                  <a:p>
                    <a:r>
                      <a:rPr lang="en-US" sz="1400" dirty="0" smtClean="0"/>
                      <a:t>$24B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4.8583745561951355E-3"/>
                  <c:y val="-0.342529859786872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&quot;$&quot;#,##0" sourceLinked="0"/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3</c:f>
              <c:numCache>
                <c:formatCode>General</c:formatCode>
                <c:ptCount val="2"/>
                <c:pt idx="0">
                  <c:v>2000</c:v>
                </c:pt>
                <c:pt idx="1">
                  <c:v>2014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3</c:v>
                </c:pt>
                <c:pt idx="1">
                  <c:v>2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7811072"/>
        <c:axId val="97825152"/>
      </c:barChart>
      <c:catAx>
        <c:axId val="978110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7825152"/>
        <c:crosses val="autoZero"/>
        <c:auto val="1"/>
        <c:lblAlgn val="ctr"/>
        <c:lblOffset val="100"/>
        <c:noMultiLvlLbl val="0"/>
      </c:catAx>
      <c:valAx>
        <c:axId val="9782515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978110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2916834460141546"/>
          <c:w val="0.83168963254593176"/>
          <c:h val="0.80159800796711256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$ Admin Fee Revenue</c:v>
                </c:pt>
              </c:strCache>
            </c:strRef>
          </c:tx>
          <c:spPr>
            <a:solidFill>
              <a:srgbClr val="0064AD"/>
            </a:solidFill>
          </c:spPr>
          <c:invertIfNegative val="0"/>
          <c:dLbls>
            <c:numFmt formatCode="0%" sourceLinked="0"/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F$1</c:f>
              <c:strCache>
                <c:ptCount val="5"/>
                <c:pt idx="0">
                  <c:v>Foundation A</c:v>
                </c:pt>
                <c:pt idx="1">
                  <c:v>Foundation B</c:v>
                </c:pt>
                <c:pt idx="2">
                  <c:v>Foundation C</c:v>
                </c:pt>
                <c:pt idx="3">
                  <c:v>Foundation D</c:v>
                </c:pt>
                <c:pt idx="4">
                  <c:v>Foundation E</c:v>
                </c:pt>
              </c:strCache>
            </c:strRef>
          </c:cat>
          <c:val>
            <c:numRef>
              <c:f>Sheet1!$B$2:$F$2</c:f>
              <c:numCache>
                <c:formatCode>0%</c:formatCode>
                <c:ptCount val="5"/>
                <c:pt idx="0">
                  <c:v>0.57584545716208946</c:v>
                </c:pt>
                <c:pt idx="1">
                  <c:v>0.35990909232800511</c:v>
                </c:pt>
                <c:pt idx="2" formatCode="0.00%">
                  <c:v>0.38925897850982005</c:v>
                </c:pt>
                <c:pt idx="3">
                  <c:v>0.8989236870205316</c:v>
                </c:pt>
                <c:pt idx="4">
                  <c:v>0.93073970025274921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$ Disbursements from Operating Endowment/Reserve</c:v>
                </c:pt>
              </c:strCache>
            </c:strRef>
          </c:tx>
          <c:spPr>
            <a:solidFill>
              <a:srgbClr val="FA9600"/>
            </a:solidFill>
          </c:spPr>
          <c:invertIfNegative val="0"/>
          <c:dLbls>
            <c:dLbl>
              <c:idx val="4"/>
              <c:delete val="1"/>
            </c:dLbl>
            <c:dLbl>
              <c:idx val="5"/>
              <c:delete val="1"/>
            </c:dLbl>
            <c:numFmt formatCode="0%" sourceLinked="0"/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F$1</c:f>
              <c:strCache>
                <c:ptCount val="5"/>
                <c:pt idx="0">
                  <c:v>Foundation A</c:v>
                </c:pt>
                <c:pt idx="1">
                  <c:v>Foundation B</c:v>
                </c:pt>
                <c:pt idx="2">
                  <c:v>Foundation C</c:v>
                </c:pt>
                <c:pt idx="3">
                  <c:v>Foundation D</c:v>
                </c:pt>
                <c:pt idx="4">
                  <c:v>Foundation E</c:v>
                </c:pt>
              </c:strCache>
            </c:strRef>
          </c:cat>
          <c:val>
            <c:numRef>
              <c:f>Sheet1!$B$3:$F$3</c:f>
              <c:numCache>
                <c:formatCode>0%</c:formatCode>
                <c:ptCount val="5"/>
                <c:pt idx="0">
                  <c:v>0.27069766055114253</c:v>
                </c:pt>
                <c:pt idx="1">
                  <c:v>4.7177413638544143E-2</c:v>
                </c:pt>
                <c:pt idx="2" formatCode="0.00%">
                  <c:v>9.1658208495002183E-2</c:v>
                </c:pt>
                <c:pt idx="3">
                  <c:v>5.2679143953656575E-2</c:v>
                </c:pt>
                <c:pt idx="4">
                  <c:v>4.1213236405089832E-3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$ External Gifts/Grants for Operations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numFmt formatCode="0%" sourceLinked="0"/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F$1</c:f>
              <c:strCache>
                <c:ptCount val="5"/>
                <c:pt idx="0">
                  <c:v>Foundation A</c:v>
                </c:pt>
                <c:pt idx="1">
                  <c:v>Foundation B</c:v>
                </c:pt>
                <c:pt idx="2">
                  <c:v>Foundation C</c:v>
                </c:pt>
                <c:pt idx="3">
                  <c:v>Foundation D</c:v>
                </c:pt>
                <c:pt idx="4">
                  <c:v>Foundation E</c:v>
                </c:pt>
              </c:strCache>
            </c:strRef>
          </c:cat>
          <c:val>
            <c:numRef>
              <c:f>Sheet1!$B$4:$F$4</c:f>
              <c:numCache>
                <c:formatCode>0%</c:formatCode>
                <c:ptCount val="5"/>
                <c:pt idx="0">
                  <c:v>5.9855993339777973E-2</c:v>
                </c:pt>
                <c:pt idx="1">
                  <c:v>0.25203212464883629</c:v>
                </c:pt>
                <c:pt idx="2" formatCode="0.00%">
                  <c:v>0.51908281299517778</c:v>
                </c:pt>
                <c:pt idx="3">
                  <c:v>2.2590814441714555E-2</c:v>
                </c:pt>
                <c:pt idx="4">
                  <c:v>3.9259643020290398E-2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$ Interest Income</c:v>
                </c:pt>
              </c:strCache>
            </c:strRef>
          </c:tx>
          <c:spPr>
            <a:solidFill>
              <a:srgbClr val="808080"/>
            </a:solidFill>
          </c:spPr>
          <c:invertIfNegative val="0"/>
          <c:dLbls>
            <c:dLbl>
              <c:idx val="0"/>
              <c:layout>
                <c:manualLayout>
                  <c:x val="-5.7471264367816091E-3"/>
                  <c:y val="-2.0588230526116136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&lt;1%</a:t>
                    </a:r>
                    <a:endParaRPr lang="en-US" dirty="0"/>
                  </a:p>
                </c:rich>
              </c:tx>
              <c:spPr>
                <a:solidFill>
                  <a:srgbClr val="808080"/>
                </a:solidFill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F$1</c:f>
              <c:strCache>
                <c:ptCount val="5"/>
                <c:pt idx="0">
                  <c:v>Foundation A</c:v>
                </c:pt>
                <c:pt idx="1">
                  <c:v>Foundation B</c:v>
                </c:pt>
                <c:pt idx="2">
                  <c:v>Foundation C</c:v>
                </c:pt>
                <c:pt idx="3">
                  <c:v>Foundation D</c:v>
                </c:pt>
                <c:pt idx="4">
                  <c:v>Foundation E</c:v>
                </c:pt>
              </c:strCache>
            </c:strRef>
          </c:cat>
          <c:val>
            <c:numRef>
              <c:f>Sheet1!$B$5:$F$5</c:f>
              <c:numCache>
                <c:formatCode>0%</c:formatCode>
                <c:ptCount val="5"/>
                <c:pt idx="0">
                  <c:v>1.6660875667828305E-2</c:v>
                </c:pt>
                <c:pt idx="1">
                  <c:v>7.3102660569907579E-2</c:v>
                </c:pt>
                <c:pt idx="2" formatCode="0.00%">
                  <c:v>0</c:v>
                </c:pt>
                <c:pt idx="3">
                  <c:v>2.74726589363817E-3</c:v>
                </c:pt>
                <c:pt idx="4">
                  <c:v>2.0703547581612192E-2</c:v>
                </c:pt>
              </c:numCache>
            </c:numRef>
          </c:val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$ Fee for Service Revenue</c:v>
                </c:pt>
              </c:strCache>
            </c:strRef>
          </c:tx>
          <c:spPr>
            <a:solidFill>
              <a:schemeClr val="tx1"/>
            </a:solidFill>
          </c:spPr>
          <c:invertIfNegative val="0"/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F$1</c:f>
              <c:strCache>
                <c:ptCount val="5"/>
                <c:pt idx="0">
                  <c:v>Foundation A</c:v>
                </c:pt>
                <c:pt idx="1">
                  <c:v>Foundation B</c:v>
                </c:pt>
                <c:pt idx="2">
                  <c:v>Foundation C</c:v>
                </c:pt>
                <c:pt idx="3">
                  <c:v>Foundation D</c:v>
                </c:pt>
                <c:pt idx="4">
                  <c:v>Foundation E</c:v>
                </c:pt>
              </c:strCache>
            </c:strRef>
          </c:cat>
          <c:val>
            <c:numRef>
              <c:f>Sheet1!$B$6:$F$6</c:f>
              <c:numCache>
                <c:formatCode>0%</c:formatCode>
                <c:ptCount val="5"/>
                <c:pt idx="0">
                  <c:v>0</c:v>
                </c:pt>
                <c:pt idx="1">
                  <c:v>8.5151831457635496E-3</c:v>
                </c:pt>
                <c:pt idx="2" formatCode="0.00%">
                  <c:v>0</c:v>
                </c:pt>
                <c:pt idx="3">
                  <c:v>1.1950393008562925E-2</c:v>
                </c:pt>
                <c:pt idx="4">
                  <c:v>0</c:v>
                </c:pt>
              </c:numCache>
            </c:numRef>
          </c:val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$ Other Income</c:v>
                </c:pt>
              </c:strCache>
            </c:strRef>
          </c:tx>
          <c:spPr>
            <a:solidFill>
              <a:srgbClr val="6A7F10"/>
            </a:solidFill>
          </c:spPr>
          <c:invertIfNegative val="0"/>
          <c:dLbls>
            <c:dLbl>
              <c:idx val="0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layout>
                <c:manualLayout>
                  <c:x val="-2.2988505747126436E-2"/>
                  <c:y val="-2.9411757894451623E-3"/>
                </c:manualLayout>
              </c:layout>
              <c:spPr>
                <a:solidFill>
                  <a:srgbClr val="000000"/>
                </a:solidFill>
              </c:spPr>
              <c:txPr>
                <a:bodyPr/>
                <a:lstStyle/>
                <a:p>
                  <a:pPr>
                    <a:defRPr/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delete val="1"/>
            </c:dLbl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:$F$1</c:f>
              <c:strCache>
                <c:ptCount val="5"/>
                <c:pt idx="0">
                  <c:v>Foundation A</c:v>
                </c:pt>
                <c:pt idx="1">
                  <c:v>Foundation B</c:v>
                </c:pt>
                <c:pt idx="2">
                  <c:v>Foundation C</c:v>
                </c:pt>
                <c:pt idx="3">
                  <c:v>Foundation D</c:v>
                </c:pt>
                <c:pt idx="4">
                  <c:v>Foundation E</c:v>
                </c:pt>
              </c:strCache>
            </c:strRef>
          </c:cat>
          <c:val>
            <c:numRef>
              <c:f>Sheet1!$B$7:$F$7</c:f>
              <c:numCache>
                <c:formatCode>0%</c:formatCode>
                <c:ptCount val="5"/>
                <c:pt idx="0">
                  <c:v>7.6940013279161695E-2</c:v>
                </c:pt>
                <c:pt idx="1">
                  <c:v>0.25926352566894334</c:v>
                </c:pt>
                <c:pt idx="2" formatCode="0.00%">
                  <c:v>0</c:v>
                </c:pt>
                <c:pt idx="3">
                  <c:v>1.1108695681896177E-2</c:v>
                </c:pt>
                <c:pt idx="4">
                  <c:v>5.1757855048391683E-3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93"/>
        <c:overlap val="100"/>
        <c:axId val="106437248"/>
        <c:axId val="106463616"/>
      </c:barChart>
      <c:catAx>
        <c:axId val="1064372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236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>
                <a:solidFill>
                  <a:schemeClr val="tx1"/>
                </a:solidFill>
              </a:defRPr>
            </a:pPr>
            <a:endParaRPr lang="en-US"/>
          </a:p>
        </c:txPr>
        <c:crossAx val="10646361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06463616"/>
        <c:scaling>
          <c:orientation val="minMax"/>
          <c:max val="1"/>
        </c:scaling>
        <c:delete val="1"/>
        <c:axPos val="l"/>
        <c:majorGridlines>
          <c:spPr>
            <a:ln w="9460">
              <a:solidFill>
                <a:srgbClr val="FFFFFF"/>
              </a:solidFill>
              <a:prstDash val="solid"/>
            </a:ln>
          </c:spPr>
        </c:majorGridlines>
        <c:numFmt formatCode="0%" sourceLinked="0"/>
        <c:majorTickMark val="out"/>
        <c:minorTickMark val="none"/>
        <c:tickLblPos val="nextTo"/>
        <c:crossAx val="106437248"/>
        <c:crosses val="autoZero"/>
        <c:crossBetween val="between"/>
        <c:majorUnit val="0.2"/>
      </c:valAx>
      <c:spPr>
        <a:noFill/>
        <a:ln w="9460">
          <a:noFill/>
          <a:prstDash val="solid"/>
        </a:ln>
      </c:spPr>
    </c:plotArea>
    <c:legend>
      <c:legendPos val="r"/>
      <c:layout>
        <c:manualLayout>
          <c:xMode val="edge"/>
          <c:yMode val="edge"/>
          <c:x val="0.81330732095988001"/>
          <c:y val="0.1117667642967197"/>
          <c:w val="0.18669267904011999"/>
          <c:h val="0.84634903975242248"/>
        </c:manualLayout>
      </c:layout>
      <c:overlay val="0"/>
      <c:spPr>
        <a:solidFill>
          <a:schemeClr val="bg1"/>
        </a:solidFill>
        <a:ln w="18920">
          <a:noFill/>
        </a:ln>
      </c:spPr>
      <c:txPr>
        <a:bodyPr/>
        <a:lstStyle/>
        <a:p>
          <a:pPr>
            <a:defRPr>
              <a:solidFill>
                <a:schemeClr val="tx1"/>
              </a:solidFill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1" i="0" u="none" strike="noStrike" baseline="0">
          <a:solidFill>
            <a:schemeClr val="bg1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699115044247787E-2"/>
          <c:y val="0"/>
          <c:w val="0.76943012101363439"/>
          <c:h val="0.8865273897214460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</c:spPr>
          <c:invertIfNegative val="0"/>
          <c:dLbls>
            <c:dLbl>
              <c:idx val="2"/>
              <c:delete val="1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9</c:f>
              <c:strCache>
                <c:ptCount val="8"/>
                <c:pt idx="0">
                  <c:v>Three Rivers</c:v>
                </c:pt>
                <c:pt idx="1">
                  <c:v>Everett </c:v>
                </c:pt>
                <c:pt idx="2">
                  <c:v>Whatcom </c:v>
                </c:pt>
                <c:pt idx="3">
                  <c:v>Blue Mountain</c:v>
                </c:pt>
                <c:pt idx="4">
                  <c:v>North Central Washington</c:v>
                </c:pt>
                <c:pt idx="5">
                  <c:v>Yakima Valley</c:v>
                </c:pt>
                <c:pt idx="6">
                  <c:v>Tacoma</c:v>
                </c:pt>
                <c:pt idx="7">
                  <c:v>Seattle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2" formatCode="0%">
                  <c:v>1.1234973969322279E-2</c:v>
                </c:pt>
                <c:pt idx="4" formatCode="0%">
                  <c:v>0.5060811180660055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undraising for Operations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</c:spPr>
          <c:invertIfNegative val="0"/>
          <c:dLbls>
            <c:delete val="1"/>
          </c:dLbls>
          <c:cat>
            <c:strRef>
              <c:f>Sheet1!$A$2:$A$9</c:f>
              <c:strCache>
                <c:ptCount val="8"/>
                <c:pt idx="0">
                  <c:v>Three Rivers</c:v>
                </c:pt>
                <c:pt idx="1">
                  <c:v>Everett </c:v>
                </c:pt>
                <c:pt idx="2">
                  <c:v>Whatcom </c:v>
                </c:pt>
                <c:pt idx="3">
                  <c:v>Blue Mountain</c:v>
                </c:pt>
                <c:pt idx="4">
                  <c:v>North Central Washington</c:v>
                </c:pt>
                <c:pt idx="5">
                  <c:v>Yakima Valley</c:v>
                </c:pt>
                <c:pt idx="6">
                  <c:v>Tacoma</c:v>
                </c:pt>
                <c:pt idx="7">
                  <c:v>Seattle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3" formatCode="0%">
                  <c:v>2.622804449553701E-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iscal Sponsorship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dLbls>
            <c:dLbl>
              <c:idx val="0"/>
              <c:delete val="1"/>
            </c:dLbl>
            <c:dLbl>
              <c:idx val="7"/>
              <c:delete val="1"/>
            </c:dLbl>
            <c:spPr>
              <a:noFill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9</c:f>
              <c:strCache>
                <c:ptCount val="8"/>
                <c:pt idx="0">
                  <c:v>Three Rivers</c:v>
                </c:pt>
                <c:pt idx="1">
                  <c:v>Everett </c:v>
                </c:pt>
                <c:pt idx="2">
                  <c:v>Whatcom </c:v>
                </c:pt>
                <c:pt idx="3">
                  <c:v>Blue Mountain</c:v>
                </c:pt>
                <c:pt idx="4">
                  <c:v>North Central Washington</c:v>
                </c:pt>
                <c:pt idx="5">
                  <c:v>Yakima Valley</c:v>
                </c:pt>
                <c:pt idx="6">
                  <c:v>Tacoma</c:v>
                </c:pt>
                <c:pt idx="7">
                  <c:v>Seattle</c:v>
                </c:pt>
              </c:strCache>
            </c:strRef>
          </c:cat>
          <c:val>
            <c:numRef>
              <c:f>Sheet1!$D$2:$D$9</c:f>
              <c:numCache>
                <c:formatCode>General</c:formatCode>
                <c:ptCount val="8"/>
                <c:pt idx="0" formatCode="0%">
                  <c:v>7.0065577050760818E-3</c:v>
                </c:pt>
                <c:pt idx="2" formatCode="0%">
                  <c:v>8.3356468393501637E-2</c:v>
                </c:pt>
                <c:pt idx="7" formatCode="0%">
                  <c:v>5.2198214314058177E-3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 Unrestricted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dLbls>
            <c:dLbl>
              <c:idx val="3"/>
              <c:delete val="1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9</c:f>
              <c:strCache>
                <c:ptCount val="8"/>
                <c:pt idx="0">
                  <c:v>Three Rivers</c:v>
                </c:pt>
                <c:pt idx="1">
                  <c:v>Everett </c:v>
                </c:pt>
                <c:pt idx="2">
                  <c:v>Whatcom </c:v>
                </c:pt>
                <c:pt idx="3">
                  <c:v>Blue Mountain</c:v>
                </c:pt>
                <c:pt idx="4">
                  <c:v>North Central Washington</c:v>
                </c:pt>
                <c:pt idx="5">
                  <c:v>Yakima Valley</c:v>
                </c:pt>
                <c:pt idx="6">
                  <c:v>Tacoma</c:v>
                </c:pt>
                <c:pt idx="7">
                  <c:v>Seattle</c:v>
                </c:pt>
              </c:strCache>
            </c:strRef>
          </c:cat>
          <c:val>
            <c:numRef>
              <c:f>Sheet1!$E$2:$E$9</c:f>
              <c:numCache>
                <c:formatCode>0%</c:formatCode>
                <c:ptCount val="8"/>
                <c:pt idx="0">
                  <c:v>0.24223307593658763</c:v>
                </c:pt>
                <c:pt idx="1">
                  <c:v>0.28335871899540094</c:v>
                </c:pt>
                <c:pt idx="2">
                  <c:v>0.10460471251381546</c:v>
                </c:pt>
                <c:pt idx="3">
                  <c:v>3.3557656668780619E-2</c:v>
                </c:pt>
                <c:pt idx="4">
                  <c:v>7.742841012567292E-2</c:v>
                </c:pt>
                <c:pt idx="5">
                  <c:v>0.37964609473431926</c:v>
                </c:pt>
                <c:pt idx="6">
                  <c:v>8.3203306665189228E-2</c:v>
                </c:pt>
                <c:pt idx="7">
                  <c:v>5.8657497124898449E-2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Field Of Interest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Lbls>
            <c:dLbl>
              <c:idx val="5"/>
              <c:delete val="1"/>
            </c:dLbl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9</c:f>
              <c:strCache>
                <c:ptCount val="8"/>
                <c:pt idx="0">
                  <c:v>Three Rivers</c:v>
                </c:pt>
                <c:pt idx="1">
                  <c:v>Everett </c:v>
                </c:pt>
                <c:pt idx="2">
                  <c:v>Whatcom </c:v>
                </c:pt>
                <c:pt idx="3">
                  <c:v>Blue Mountain</c:v>
                </c:pt>
                <c:pt idx="4">
                  <c:v>North Central Washington</c:v>
                </c:pt>
                <c:pt idx="5">
                  <c:v>Yakima Valley</c:v>
                </c:pt>
                <c:pt idx="6">
                  <c:v>Tacoma</c:v>
                </c:pt>
                <c:pt idx="7">
                  <c:v>Seattle</c:v>
                </c:pt>
              </c:strCache>
            </c:strRef>
          </c:cat>
          <c:val>
            <c:numRef>
              <c:f>Sheet1!$F$2:$F$9</c:f>
              <c:numCache>
                <c:formatCode>0%</c:formatCode>
                <c:ptCount val="8"/>
                <c:pt idx="0">
                  <c:v>8.9936060101685353E-2</c:v>
                </c:pt>
                <c:pt idx="1">
                  <c:v>4.9633035753835493E-2</c:v>
                </c:pt>
                <c:pt idx="2">
                  <c:v>8.7003585297987435E-2</c:v>
                </c:pt>
                <c:pt idx="3">
                  <c:v>0.16874270962683027</c:v>
                </c:pt>
                <c:pt idx="5">
                  <c:v>5.3926589925420544E-3</c:v>
                </c:pt>
                <c:pt idx="6">
                  <c:v>0.21808600447127091</c:v>
                </c:pt>
                <c:pt idx="7">
                  <c:v>7.083264053984914E-2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upporting Organizations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cat>
            <c:strRef>
              <c:f>Sheet1!$A$2:$A$9</c:f>
              <c:strCache>
                <c:ptCount val="8"/>
                <c:pt idx="0">
                  <c:v>Three Rivers</c:v>
                </c:pt>
                <c:pt idx="1">
                  <c:v>Everett </c:v>
                </c:pt>
                <c:pt idx="2">
                  <c:v>Whatcom </c:v>
                </c:pt>
                <c:pt idx="3">
                  <c:v>Blue Mountain</c:v>
                </c:pt>
                <c:pt idx="4">
                  <c:v>North Central Washington</c:v>
                </c:pt>
                <c:pt idx="5">
                  <c:v>Yakima Valley</c:v>
                </c:pt>
                <c:pt idx="6">
                  <c:v>Tacoma</c:v>
                </c:pt>
                <c:pt idx="7">
                  <c:v>Seattle</c:v>
                </c:pt>
              </c:strCache>
            </c:strRef>
          </c:cat>
          <c:val>
            <c:numRef>
              <c:f>Sheet1!$G$2:$G$9</c:f>
              <c:numCache>
                <c:formatCode>General</c:formatCode>
                <c:ptCount val="8"/>
                <c:pt idx="6" formatCode="0%">
                  <c:v>9.5395583991976785E-2</c:v>
                </c:pt>
                <c:pt idx="7" formatCode="0%">
                  <c:v>9.9959403298157362E-2</c:v>
                </c:pt>
              </c:numCache>
            </c:numRef>
          </c:val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 Scholarships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dLbl>
              <c:idx val="7"/>
              <c:delete val="1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9</c:f>
              <c:strCache>
                <c:ptCount val="8"/>
                <c:pt idx="0">
                  <c:v>Three Rivers</c:v>
                </c:pt>
                <c:pt idx="1">
                  <c:v>Everett </c:v>
                </c:pt>
                <c:pt idx="2">
                  <c:v>Whatcom </c:v>
                </c:pt>
                <c:pt idx="3">
                  <c:v>Blue Mountain</c:v>
                </c:pt>
                <c:pt idx="4">
                  <c:v>North Central Washington</c:v>
                </c:pt>
                <c:pt idx="5">
                  <c:v>Yakima Valley</c:v>
                </c:pt>
                <c:pt idx="6">
                  <c:v>Tacoma</c:v>
                </c:pt>
                <c:pt idx="7">
                  <c:v>Seattle</c:v>
                </c:pt>
              </c:strCache>
            </c:strRef>
          </c:cat>
          <c:val>
            <c:numRef>
              <c:f>Sheet1!$H$2:$H$9</c:f>
              <c:numCache>
                <c:formatCode>0%</c:formatCode>
                <c:ptCount val="8"/>
                <c:pt idx="0">
                  <c:v>0.19108297634314717</c:v>
                </c:pt>
                <c:pt idx="1">
                  <c:v>5.1278423578518015E-2</c:v>
                </c:pt>
                <c:pt idx="2">
                  <c:v>3.1794976333182054E-2</c:v>
                </c:pt>
                <c:pt idx="3">
                  <c:v>0.20035435189434483</c:v>
                </c:pt>
                <c:pt idx="4">
                  <c:v>7.069496203036274E-2</c:v>
                </c:pt>
                <c:pt idx="5">
                  <c:v>0.46661441106622947</c:v>
                </c:pt>
                <c:pt idx="6">
                  <c:v>6.6241446751708302E-2</c:v>
                </c:pt>
                <c:pt idx="7">
                  <c:v>2.9118505718148731E-2</c:v>
                </c:pt>
              </c:numCache>
            </c:numRef>
          </c:val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 Deferred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</c:spPr>
          <c:invertIfNegative val="0"/>
          <c:dLbls>
            <c:dLbl>
              <c:idx val="2"/>
              <c:delete val="1"/>
            </c:dLbl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9</c:f>
              <c:strCache>
                <c:ptCount val="8"/>
                <c:pt idx="0">
                  <c:v>Three Rivers</c:v>
                </c:pt>
                <c:pt idx="1">
                  <c:v>Everett </c:v>
                </c:pt>
                <c:pt idx="2">
                  <c:v>Whatcom </c:v>
                </c:pt>
                <c:pt idx="3">
                  <c:v>Blue Mountain</c:v>
                </c:pt>
                <c:pt idx="4">
                  <c:v>North Central Washington</c:v>
                </c:pt>
                <c:pt idx="5">
                  <c:v>Yakima Valley</c:v>
                </c:pt>
                <c:pt idx="6">
                  <c:v>Tacoma</c:v>
                </c:pt>
                <c:pt idx="7">
                  <c:v>Seattle</c:v>
                </c:pt>
              </c:strCache>
            </c:strRef>
          </c:cat>
          <c:val>
            <c:numRef>
              <c:f>Sheet1!$I$2:$I$9</c:f>
              <c:numCache>
                <c:formatCode>0%</c:formatCode>
                <c:ptCount val="8"/>
                <c:pt idx="1">
                  <c:v>8.7028064788015141E-2</c:v>
                </c:pt>
                <c:pt idx="2">
                  <c:v>7.831613503615345E-3</c:v>
                </c:pt>
                <c:pt idx="3">
                  <c:v>4.9284480503505548E-2</c:v>
                </c:pt>
                <c:pt idx="6">
                  <c:v>4.2818992407572566E-2</c:v>
                </c:pt>
                <c:pt idx="7">
                  <c:v>4.1741869373608187E-2</c:v>
                </c:pt>
              </c:numCache>
            </c:numRef>
          </c:val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 Donor Advised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Lbls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9</c:f>
              <c:strCache>
                <c:ptCount val="8"/>
                <c:pt idx="0">
                  <c:v>Three Rivers</c:v>
                </c:pt>
                <c:pt idx="1">
                  <c:v>Everett </c:v>
                </c:pt>
                <c:pt idx="2">
                  <c:v>Whatcom </c:v>
                </c:pt>
                <c:pt idx="3">
                  <c:v>Blue Mountain</c:v>
                </c:pt>
                <c:pt idx="4">
                  <c:v>North Central Washington</c:v>
                </c:pt>
                <c:pt idx="5">
                  <c:v>Yakima Valley</c:v>
                </c:pt>
                <c:pt idx="6">
                  <c:v>Tacoma</c:v>
                </c:pt>
                <c:pt idx="7">
                  <c:v>Seattle</c:v>
                </c:pt>
              </c:strCache>
            </c:strRef>
          </c:cat>
          <c:val>
            <c:numRef>
              <c:f>Sheet1!$J$2:$J$9</c:f>
              <c:numCache>
                <c:formatCode>0%</c:formatCode>
                <c:ptCount val="8"/>
                <c:pt idx="0">
                  <c:v>0.14367195103095129</c:v>
                </c:pt>
                <c:pt idx="1">
                  <c:v>0.26422551020168072</c:v>
                </c:pt>
                <c:pt idx="2">
                  <c:v>0.21747775498394267</c:v>
                </c:pt>
                <c:pt idx="3">
                  <c:v>4.7836077683490213E-2</c:v>
                </c:pt>
                <c:pt idx="4">
                  <c:v>6.9063530169359705E-2</c:v>
                </c:pt>
                <c:pt idx="5">
                  <c:v>0.11321582324344485</c:v>
                </c:pt>
                <c:pt idx="6">
                  <c:v>0.10148995020470045</c:v>
                </c:pt>
                <c:pt idx="7">
                  <c:v>0.34397086701189183</c:v>
                </c:pt>
              </c:numCache>
            </c:numRef>
          </c:val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Designated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Lbls>
            <c:dLbl>
              <c:idx val="5"/>
              <c:delete val="1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9</c:f>
              <c:strCache>
                <c:ptCount val="8"/>
                <c:pt idx="0">
                  <c:v>Three Rivers</c:v>
                </c:pt>
                <c:pt idx="1">
                  <c:v>Everett </c:v>
                </c:pt>
                <c:pt idx="2">
                  <c:v>Whatcom </c:v>
                </c:pt>
                <c:pt idx="3">
                  <c:v>Blue Mountain</c:v>
                </c:pt>
                <c:pt idx="4">
                  <c:v>North Central Washington</c:v>
                </c:pt>
                <c:pt idx="5">
                  <c:v>Yakima Valley</c:v>
                </c:pt>
                <c:pt idx="6">
                  <c:v>Tacoma</c:v>
                </c:pt>
                <c:pt idx="7">
                  <c:v>Seattle</c:v>
                </c:pt>
              </c:strCache>
            </c:strRef>
          </c:cat>
          <c:val>
            <c:numRef>
              <c:f>Sheet1!$K$2:$K$9</c:f>
              <c:numCache>
                <c:formatCode>0%</c:formatCode>
                <c:ptCount val="8"/>
                <c:pt idx="0">
                  <c:v>0.28571993778820703</c:v>
                </c:pt>
                <c:pt idx="1">
                  <c:v>0.17207540344686448</c:v>
                </c:pt>
                <c:pt idx="2">
                  <c:v>0.34265827319379699</c:v>
                </c:pt>
                <c:pt idx="3">
                  <c:v>0.29702413214943407</c:v>
                </c:pt>
                <c:pt idx="4">
                  <c:v>5.9603485886292225E-2</c:v>
                </c:pt>
                <c:pt idx="5">
                  <c:v>1.29880815817649E-2</c:v>
                </c:pt>
                <c:pt idx="6">
                  <c:v>0.31040306467285139</c:v>
                </c:pt>
                <c:pt idx="7">
                  <c:v>0.28014261575594812</c:v>
                </c:pt>
              </c:numCache>
            </c:numRef>
          </c:val>
        </c:ser>
        <c:ser>
          <c:idx val="10"/>
          <c:order val="10"/>
          <c:tx>
            <c:strRef>
              <c:f>Sheet1!$L$1</c:f>
              <c:strCache>
                <c:ptCount val="1"/>
                <c:pt idx="0">
                  <c:v> Agency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dLbl>
              <c:idx val="5"/>
              <c:delete val="1"/>
            </c:dLbl>
            <c:spPr>
              <a:noFill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9</c:f>
              <c:strCache>
                <c:ptCount val="8"/>
                <c:pt idx="0">
                  <c:v>Three Rivers</c:v>
                </c:pt>
                <c:pt idx="1">
                  <c:v>Everett </c:v>
                </c:pt>
                <c:pt idx="2">
                  <c:v>Whatcom </c:v>
                </c:pt>
                <c:pt idx="3">
                  <c:v>Blue Mountain</c:v>
                </c:pt>
                <c:pt idx="4">
                  <c:v>North Central Washington</c:v>
                </c:pt>
                <c:pt idx="5">
                  <c:v>Yakima Valley</c:v>
                </c:pt>
                <c:pt idx="6">
                  <c:v>Tacoma</c:v>
                </c:pt>
                <c:pt idx="7">
                  <c:v>Seattle</c:v>
                </c:pt>
              </c:strCache>
            </c:strRef>
          </c:cat>
          <c:val>
            <c:numRef>
              <c:f>Sheet1!$L$2:$L$9</c:f>
              <c:numCache>
                <c:formatCode>0%</c:formatCode>
                <c:ptCount val="8"/>
                <c:pt idx="0">
                  <c:v>4.0349441094345455E-2</c:v>
                </c:pt>
                <c:pt idx="1">
                  <c:v>9.2400843235685232E-2</c:v>
                </c:pt>
                <c:pt idx="2">
                  <c:v>0.1140376418108361</c:v>
                </c:pt>
                <c:pt idx="3">
                  <c:v>0.17697254697807743</c:v>
                </c:pt>
                <c:pt idx="4">
                  <c:v>0.21256740611813271</c:v>
                </c:pt>
                <c:pt idx="5">
                  <c:v>2.1011101594314237E-2</c:v>
                </c:pt>
                <c:pt idx="6">
                  <c:v>7.8358576865316526E-2</c:v>
                </c:pt>
                <c:pt idx="7">
                  <c:v>7.0232149067032387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06160896"/>
        <c:axId val="106162432"/>
      </c:barChart>
      <c:catAx>
        <c:axId val="106160896"/>
        <c:scaling>
          <c:orientation val="minMax"/>
        </c:scaling>
        <c:delete val="0"/>
        <c:axPos val="b"/>
        <c:majorTickMark val="out"/>
        <c:minorTickMark val="none"/>
        <c:tickLblPos val="nextTo"/>
        <c:crossAx val="106162432"/>
        <c:crosses val="autoZero"/>
        <c:auto val="1"/>
        <c:lblAlgn val="ctr"/>
        <c:lblOffset val="100"/>
        <c:noMultiLvlLbl val="0"/>
      </c:catAx>
      <c:valAx>
        <c:axId val="106162432"/>
        <c:scaling>
          <c:orientation val="minMax"/>
          <c:max val="1"/>
        </c:scaling>
        <c:delete val="1"/>
        <c:axPos val="l"/>
        <c:numFmt formatCode="General" sourceLinked="1"/>
        <c:majorTickMark val="out"/>
        <c:minorTickMark val="none"/>
        <c:tickLblPos val="nextTo"/>
        <c:crossAx val="10616089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7680475228207091"/>
          <c:y val="3.2476928287189906E-2"/>
          <c:w val="0.2172955427031798"/>
          <c:h val="0.81945453390906786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5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O$3</c:f>
              <c:strCache>
                <c:ptCount val="1"/>
                <c:pt idx="0">
                  <c:v>DAF Grants %</c:v>
                </c:pt>
              </c:strCache>
            </c:strRef>
          </c:tx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4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38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82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21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33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64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51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27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57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20</a:t>
                    </a:r>
                    <a:r>
                      <a:rPr lang="en-US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mtClean="0"/>
                      <a:t>47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/>
              <c:tx>
                <c:rich>
                  <a:bodyPr/>
                  <a:lstStyle/>
                  <a:p>
                    <a:r>
                      <a:rPr lang="en-US" smtClean="0"/>
                      <a:t>36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  <a:latin typeface="ITC Franklin Gothic Book" panose="020B0504030503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(Sheet1!$B$4,Sheet1!$B$6:$B$16)</c:f>
              <c:strCache>
                <c:ptCount val="12"/>
                <c:pt idx="0">
                  <c:v>Blue Mountain</c:v>
                </c:pt>
                <c:pt idx="1">
                  <c:v>Everett</c:v>
                </c:pt>
                <c:pt idx="2">
                  <c:v>Kitsap</c:v>
                </c:pt>
                <c:pt idx="3">
                  <c:v>North Central WA</c:v>
                </c:pt>
                <c:pt idx="4">
                  <c:v>Orcas Island</c:v>
                </c:pt>
                <c:pt idx="5">
                  <c:v>Seattle</c:v>
                </c:pt>
                <c:pt idx="6">
                  <c:v>Skagit</c:v>
                </c:pt>
                <c:pt idx="7">
                  <c:v>South Puget Sound</c:v>
                </c:pt>
                <c:pt idx="8">
                  <c:v>Southwest WA</c:v>
                </c:pt>
                <c:pt idx="9">
                  <c:v>Tacoma</c:v>
                </c:pt>
                <c:pt idx="10">
                  <c:v>Whatcom</c:v>
                </c:pt>
                <c:pt idx="11">
                  <c:v>Yakima Valley</c:v>
                </c:pt>
              </c:strCache>
            </c:strRef>
          </c:cat>
          <c:val>
            <c:numRef>
              <c:f>(Sheet1!$O$4,Sheet1!$O$6:$O$16)</c:f>
              <c:numCache>
                <c:formatCode>0%</c:formatCode>
                <c:ptCount val="12"/>
                <c:pt idx="0">
                  <c:v>3.6571734547036577E-2</c:v>
                </c:pt>
                <c:pt idx="1">
                  <c:v>0.3793222548695297</c:v>
                </c:pt>
                <c:pt idx="2">
                  <c:v>0.82236618762023306</c:v>
                </c:pt>
                <c:pt idx="3">
                  <c:v>0.21187582216053727</c:v>
                </c:pt>
                <c:pt idx="4">
                  <c:v>0.33196487462257712</c:v>
                </c:pt>
                <c:pt idx="5">
                  <c:v>0.64205182611628775</c:v>
                </c:pt>
                <c:pt idx="6">
                  <c:v>0.50848126232741619</c:v>
                </c:pt>
                <c:pt idx="7">
                  <c:v>0.26952738615126043</c:v>
                </c:pt>
                <c:pt idx="8">
                  <c:v>0.57338311015029975</c:v>
                </c:pt>
                <c:pt idx="9">
                  <c:v>0.1989399993332365</c:v>
                </c:pt>
                <c:pt idx="10">
                  <c:v>0.47033055386432782</c:v>
                </c:pt>
                <c:pt idx="11">
                  <c:v>0.36322014465940616</c:v>
                </c:pt>
              </c:numCache>
            </c:numRef>
          </c:val>
        </c:ser>
        <c:ser>
          <c:idx val="2"/>
          <c:order val="1"/>
          <c:tx>
            <c:strRef>
              <c:f>Sheet1!$Q$3</c:f>
              <c:strCache>
                <c:ptCount val="1"/>
                <c:pt idx="0">
                  <c:v>Non-DAF Grants %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96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62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8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79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67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36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49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73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43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80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mtClean="0"/>
                      <a:t>53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/>
              <c:tx>
                <c:rich>
                  <a:bodyPr/>
                  <a:lstStyle/>
                  <a:p>
                    <a:r>
                      <a:rPr lang="en-US" smtClean="0"/>
                      <a:t>64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  <a:latin typeface="ITC Franklin Gothic Book" panose="020B0504030503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(Sheet1!$B$4,Sheet1!$B$6:$B$16)</c:f>
              <c:strCache>
                <c:ptCount val="12"/>
                <c:pt idx="0">
                  <c:v>Blue Mountain</c:v>
                </c:pt>
                <c:pt idx="1">
                  <c:v>Everett</c:v>
                </c:pt>
                <c:pt idx="2">
                  <c:v>Kitsap</c:v>
                </c:pt>
                <c:pt idx="3">
                  <c:v>North Central WA</c:v>
                </c:pt>
                <c:pt idx="4">
                  <c:v>Orcas Island</c:v>
                </c:pt>
                <c:pt idx="5">
                  <c:v>Seattle</c:v>
                </c:pt>
                <c:pt idx="6">
                  <c:v>Skagit</c:v>
                </c:pt>
                <c:pt idx="7">
                  <c:v>South Puget Sound</c:v>
                </c:pt>
                <c:pt idx="8">
                  <c:v>Southwest WA</c:v>
                </c:pt>
                <c:pt idx="9">
                  <c:v>Tacoma</c:v>
                </c:pt>
                <c:pt idx="10">
                  <c:v>Whatcom</c:v>
                </c:pt>
                <c:pt idx="11">
                  <c:v>Yakima Valley</c:v>
                </c:pt>
              </c:strCache>
            </c:strRef>
          </c:cat>
          <c:val>
            <c:numRef>
              <c:f>(Sheet1!$Q$4,Sheet1!$Q$6:$Q$16)</c:f>
              <c:numCache>
                <c:formatCode>0%</c:formatCode>
                <c:ptCount val="12"/>
                <c:pt idx="0">
                  <c:v>0.96342826545296345</c:v>
                </c:pt>
                <c:pt idx="1">
                  <c:v>0.62067774513047036</c:v>
                </c:pt>
                <c:pt idx="2">
                  <c:v>0.17763381237976689</c:v>
                </c:pt>
                <c:pt idx="3">
                  <c:v>0.78812417783946276</c:v>
                </c:pt>
                <c:pt idx="4">
                  <c:v>0.66803512537742293</c:v>
                </c:pt>
                <c:pt idx="5">
                  <c:v>0.35794817388371225</c:v>
                </c:pt>
                <c:pt idx="6">
                  <c:v>0.49151873767258381</c:v>
                </c:pt>
                <c:pt idx="7">
                  <c:v>0.73047261384873963</c:v>
                </c:pt>
                <c:pt idx="8">
                  <c:v>0.42661688984970025</c:v>
                </c:pt>
                <c:pt idx="9">
                  <c:v>0.80106000066676353</c:v>
                </c:pt>
                <c:pt idx="10">
                  <c:v>0.52966944613567224</c:v>
                </c:pt>
                <c:pt idx="11">
                  <c:v>0.6367798553405938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50762624"/>
        <c:axId val="150764160"/>
      </c:barChart>
      <c:catAx>
        <c:axId val="15076262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-5400000" vert="horz"/>
          <a:lstStyle/>
          <a:p>
            <a:pPr>
              <a:defRPr>
                <a:latin typeface="ITC Franklin Gothic Book" panose="020B0504030503020204" pitchFamily="34" charset="0"/>
              </a:defRPr>
            </a:pPr>
            <a:endParaRPr lang="en-US"/>
          </a:p>
        </c:txPr>
        <c:crossAx val="150764160"/>
        <c:crosses val="autoZero"/>
        <c:auto val="1"/>
        <c:lblAlgn val="ctr"/>
        <c:lblOffset val="100"/>
        <c:noMultiLvlLbl val="0"/>
      </c:catAx>
      <c:valAx>
        <c:axId val="150764160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50762624"/>
        <c:crosses val="autoZero"/>
        <c:crossBetween val="between"/>
        <c:dispUnits>
          <c:builtInUnit val="millions"/>
          <c:dispUnitsLbl/>
        </c:dispUnits>
      </c:valAx>
    </c:plotArea>
    <c:legend>
      <c:legendPos val="b"/>
      <c:layout/>
      <c:overlay val="0"/>
      <c:txPr>
        <a:bodyPr/>
        <a:lstStyle/>
        <a:p>
          <a:pPr>
            <a:defRPr>
              <a:latin typeface="ITC Franklin Gothic Book" panose="020B0504030503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37"/>
    </mc:Choice>
    <mc:Fallback>
      <c:style val="37"/>
    </mc:Fallback>
  </mc:AlternateContent>
  <c:chart>
    <c:autoTitleDeleted val="0"/>
    <c:plotArea>
      <c:layout>
        <c:manualLayout>
          <c:layoutTarget val="inner"/>
          <c:xMode val="edge"/>
          <c:yMode val="edge"/>
          <c:x val="8.5219417666249658E-2"/>
          <c:y val="3.3290913598318948E-2"/>
          <c:w val="0.89453136114994969"/>
          <c:h val="0.60793186084123296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Lbls>
            <c:numFmt formatCode="&quot;$&quot;#,##0.0" sourceLinked="0"/>
            <c:txPr>
              <a:bodyPr/>
              <a:lstStyle/>
              <a:p>
                <a:pPr>
                  <a:defRPr>
                    <a:latin typeface="ITC Franklin Gothic Book" panose="020B0504030503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4:$B$16</c:f>
              <c:strCache>
                <c:ptCount val="13"/>
                <c:pt idx="0">
                  <c:v>Blue Mountain</c:v>
                </c:pt>
                <c:pt idx="1">
                  <c:v>Columbia Basin WA</c:v>
                </c:pt>
                <c:pt idx="2">
                  <c:v>Everett WA</c:v>
                </c:pt>
                <c:pt idx="3">
                  <c:v>Kitsap WA</c:v>
                </c:pt>
                <c:pt idx="4">
                  <c:v>North Central Washington</c:v>
                </c:pt>
                <c:pt idx="5">
                  <c:v>Orcas Island WA</c:v>
                </c:pt>
                <c:pt idx="6">
                  <c:v>Seattle</c:v>
                </c:pt>
                <c:pt idx="7">
                  <c:v>Skagit WA</c:v>
                </c:pt>
                <c:pt idx="8">
                  <c:v>South Puget Sound WA</c:v>
                </c:pt>
                <c:pt idx="9">
                  <c:v>Southwest Washington</c:v>
                </c:pt>
                <c:pt idx="10">
                  <c:v>Tacoma</c:v>
                </c:pt>
                <c:pt idx="11">
                  <c:v>Whatcom WA</c:v>
                </c:pt>
                <c:pt idx="12">
                  <c:v>Yakima Valley WA</c:v>
                </c:pt>
              </c:strCache>
            </c:strRef>
          </c:cat>
          <c:val>
            <c:numRef>
              <c:f>Sheet1!$CM$4:$CM$16</c:f>
              <c:numCache>
                <c:formatCode>_("$"* #,##0_);_("$"* \(#,##0\);_("$"* "-"??_);_(@_)</c:formatCode>
                <c:ptCount val="13"/>
                <c:pt idx="0">
                  <c:v>10716692.222222222</c:v>
                </c:pt>
                <c:pt idx="1">
                  <c:v>7439469</c:v>
                </c:pt>
                <c:pt idx="2">
                  <c:v>3633025.3846153845</c:v>
                </c:pt>
                <c:pt idx="3">
                  <c:v>2407741</c:v>
                </c:pt>
                <c:pt idx="4">
                  <c:v>12288864.791666668</c:v>
                </c:pt>
                <c:pt idx="5">
                  <c:v>3487649</c:v>
                </c:pt>
                <c:pt idx="6">
                  <c:v>29594236.376811594</c:v>
                </c:pt>
                <c:pt idx="7">
                  <c:v>4800000</c:v>
                </c:pt>
                <c:pt idx="8">
                  <c:v>4803611.666666667</c:v>
                </c:pt>
                <c:pt idx="9">
                  <c:v>9290555.444444444</c:v>
                </c:pt>
                <c:pt idx="10">
                  <c:v>10248236.090909092</c:v>
                </c:pt>
                <c:pt idx="11">
                  <c:v>3705083.6363636362</c:v>
                </c:pt>
                <c:pt idx="12">
                  <c:v>1561505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28064128"/>
        <c:axId val="128070016"/>
      </c:barChart>
      <c:catAx>
        <c:axId val="12806412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-5400000" vert="horz"/>
          <a:lstStyle/>
          <a:p>
            <a:pPr>
              <a:defRPr b="0">
                <a:latin typeface="ITC Franklin Gothic Book" panose="020B0504030503020204" pitchFamily="34" charset="0"/>
              </a:defRPr>
            </a:pPr>
            <a:endParaRPr lang="en-US"/>
          </a:p>
        </c:txPr>
        <c:crossAx val="128070016"/>
        <c:crosses val="autoZero"/>
        <c:auto val="1"/>
        <c:lblAlgn val="ctr"/>
        <c:lblOffset val="100"/>
        <c:noMultiLvlLbl val="0"/>
      </c:catAx>
      <c:valAx>
        <c:axId val="128070016"/>
        <c:scaling>
          <c:orientation val="minMax"/>
        </c:scaling>
        <c:delete val="0"/>
        <c:axPos val="l"/>
        <c:numFmt formatCode="_(&quot;$&quot;* #,##0_);_(&quot;$&quot;* \(#,##0\);_(&quot;$&quot;* &quot;-&quot;??_);_(@_)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ITC Franklin Gothic Book" panose="020B0504030503020204" pitchFamily="34" charset="0"/>
              </a:defRPr>
            </a:pPr>
            <a:endParaRPr lang="en-US"/>
          </a:p>
        </c:txPr>
        <c:crossAx val="128064128"/>
        <c:crosses val="autoZero"/>
        <c:crossBetween val="between"/>
        <c:dispUnits>
          <c:builtInUnit val="millions"/>
          <c:dispUnitsLbl>
            <c:layout/>
            <c:txPr>
              <a:bodyPr/>
              <a:lstStyle/>
              <a:p>
                <a:pPr>
                  <a:defRPr>
                    <a:latin typeface="ITC Franklin Gothic Book" panose="020B0504030503020204" pitchFamily="34" charset="0"/>
                  </a:defRPr>
                </a:pPr>
                <a:endParaRPr lang="en-US"/>
              </a:p>
            </c:txPr>
          </c:dispUnitsLbl>
        </c:dispUnits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0"/>
    <c:plotArea>
      <c:layout>
        <c:manualLayout>
          <c:layoutTarget val="inner"/>
          <c:xMode val="edge"/>
          <c:yMode val="edge"/>
          <c:x val="9.3095270985863576E-3"/>
          <c:y val="3.7383177570093455E-2"/>
          <c:w val="0.96984723948980067"/>
          <c:h val="0.68905464981703113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Lbls>
            <c:txPr>
              <a:bodyPr/>
              <a:lstStyle/>
              <a:p>
                <a:pPr>
                  <a:defRPr>
                    <a:latin typeface="ITC Franklin Gothic Book" panose="020B0504030503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4:$B$16</c:f>
              <c:strCache>
                <c:ptCount val="13"/>
                <c:pt idx="0">
                  <c:v>Blue Mountain</c:v>
                </c:pt>
                <c:pt idx="1">
                  <c:v>Columbia Basin</c:v>
                </c:pt>
                <c:pt idx="2">
                  <c:v>Everett</c:v>
                </c:pt>
                <c:pt idx="3">
                  <c:v>Kitsap</c:v>
                </c:pt>
                <c:pt idx="4">
                  <c:v>North Central WA</c:v>
                </c:pt>
                <c:pt idx="5">
                  <c:v>Orcas Island</c:v>
                </c:pt>
                <c:pt idx="6">
                  <c:v>Seattle</c:v>
                </c:pt>
                <c:pt idx="7">
                  <c:v>Skagit</c:v>
                </c:pt>
                <c:pt idx="8">
                  <c:v>South Puget Sound</c:v>
                </c:pt>
                <c:pt idx="9">
                  <c:v>Southwest WA</c:v>
                </c:pt>
                <c:pt idx="10">
                  <c:v>Tacoma</c:v>
                </c:pt>
                <c:pt idx="11">
                  <c:v>Whatcom</c:v>
                </c:pt>
                <c:pt idx="12">
                  <c:v>Yakima Valley</c:v>
                </c:pt>
              </c:strCache>
            </c:strRef>
          </c:cat>
          <c:val>
            <c:numRef>
              <c:f>Sheet1!$BX$4:$BX$16</c:f>
              <c:numCache>
                <c:formatCode>_("$"* #,##0.00_);_("$"* \(#,##0.00\);_("$"* "-"??_);_(@_)</c:formatCode>
                <c:ptCount val="13"/>
                <c:pt idx="0">
                  <c:v>21.634499999999999</c:v>
                </c:pt>
                <c:pt idx="1">
                  <c:v>1.297237037037037</c:v>
                </c:pt>
                <c:pt idx="2">
                  <c:v>1.9477560321715817</c:v>
                </c:pt>
                <c:pt idx="3">
                  <c:v>1.448528</c:v>
                </c:pt>
                <c:pt idx="4">
                  <c:v>36.224592000000001</c:v>
                </c:pt>
                <c:pt idx="5">
                  <c:v>276.17320000000001</c:v>
                </c:pt>
                <c:pt idx="6">
                  <c:v>38.118101163671142</c:v>
                </c:pt>
                <c:pt idx="7">
                  <c:v>1.36</c:v>
                </c:pt>
                <c:pt idx="8">
                  <c:v>1.7372212701587573</c:v>
                </c:pt>
                <c:pt idx="9">
                  <c:v>17.472091071428572</c:v>
                </c:pt>
                <c:pt idx="10">
                  <c:v>19.189374999999998</c:v>
                </c:pt>
                <c:pt idx="11">
                  <c:v>21.487573287573287</c:v>
                </c:pt>
                <c:pt idx="12">
                  <c:v>3.098433176692115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23"/>
        <c:axId val="128099456"/>
        <c:axId val="128100992"/>
      </c:barChart>
      <c:catAx>
        <c:axId val="12809945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>
                <a:latin typeface="ITC Franklin Gothic Book" panose="020B0504030503020204" pitchFamily="34" charset="0"/>
              </a:defRPr>
            </a:pPr>
            <a:endParaRPr lang="en-US"/>
          </a:p>
        </c:txPr>
        <c:crossAx val="128100992"/>
        <c:crosses val="autoZero"/>
        <c:auto val="1"/>
        <c:lblAlgn val="ctr"/>
        <c:lblOffset val="100"/>
        <c:noMultiLvlLbl val="0"/>
      </c:catAx>
      <c:valAx>
        <c:axId val="128100992"/>
        <c:scaling>
          <c:orientation val="minMax"/>
        </c:scaling>
        <c:delete val="1"/>
        <c:axPos val="l"/>
        <c:numFmt formatCode="_(&quot;$&quot;* #,##0_);_(&quot;$&quot;* \(#,##0\);_(&quot;$&quot;* &quot;-&quot;_);_(@_)" sourceLinked="0"/>
        <c:majorTickMark val="out"/>
        <c:minorTickMark val="none"/>
        <c:tickLblPos val="nextTo"/>
        <c:crossAx val="12809945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720817792512777E-3"/>
          <c:y val="6.1111111111111109E-2"/>
          <c:w val="0.9986279182207487"/>
          <c:h val="0.67085214348206479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Lbls>
            <c:txPr>
              <a:bodyPr/>
              <a:lstStyle/>
              <a:p>
                <a:pPr>
                  <a:defRPr>
                    <a:latin typeface="ITC Franklin Gothic Book" panose="020B0504030503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4:$B$16</c:f>
              <c:strCache>
                <c:ptCount val="13"/>
                <c:pt idx="0">
                  <c:v>Blue Mountain</c:v>
                </c:pt>
                <c:pt idx="1">
                  <c:v>Columbia Basin</c:v>
                </c:pt>
                <c:pt idx="2">
                  <c:v>Everett</c:v>
                </c:pt>
                <c:pt idx="3">
                  <c:v>Kitsap</c:v>
                </c:pt>
                <c:pt idx="4">
                  <c:v>North Central WA</c:v>
                </c:pt>
                <c:pt idx="5">
                  <c:v>Orcas Island</c:v>
                </c:pt>
                <c:pt idx="6">
                  <c:v>Seattle</c:v>
                </c:pt>
                <c:pt idx="7">
                  <c:v>Skagit</c:v>
                </c:pt>
                <c:pt idx="8">
                  <c:v>South Puget Sound</c:v>
                </c:pt>
                <c:pt idx="9">
                  <c:v>Southwest WA</c:v>
                </c:pt>
                <c:pt idx="10">
                  <c:v>Tacoma</c:v>
                </c:pt>
                <c:pt idx="11">
                  <c:v>Whatcom</c:v>
                </c:pt>
                <c:pt idx="12">
                  <c:v>Yakima Valley</c:v>
                </c:pt>
              </c:strCache>
            </c:strRef>
          </c:cat>
          <c:val>
            <c:numRef>
              <c:f>Sheet1!$BY$4:$BY$16</c:f>
              <c:numCache>
                <c:formatCode>_("$"* #,##0.00_);_("$"* \(#,##0.00\);_("$"* "-"??_);_(@_)</c:formatCode>
                <c:ptCount val="13"/>
                <c:pt idx="0">
                  <c:v>28.562720588235294</c:v>
                </c:pt>
                <c:pt idx="1">
                  <c:v>4.0751185185185186</c:v>
                </c:pt>
                <c:pt idx="2">
                  <c:v>1.3777747989276139</c:v>
                </c:pt>
                <c:pt idx="3">
                  <c:v>1.555312</c:v>
                </c:pt>
                <c:pt idx="4">
                  <c:v>24.84308</c:v>
                </c:pt>
                <c:pt idx="5">
                  <c:v>235.54480000000001</c:v>
                </c:pt>
                <c:pt idx="6">
                  <c:v>43.430514486111662</c:v>
                </c:pt>
                <c:pt idx="7">
                  <c:v>2.028</c:v>
                </c:pt>
                <c:pt idx="8">
                  <c:v>2.1364362784760509</c:v>
                </c:pt>
                <c:pt idx="9">
                  <c:v>13.982891071428572</c:v>
                </c:pt>
                <c:pt idx="10">
                  <c:v>6.2731274038461535</c:v>
                </c:pt>
                <c:pt idx="11">
                  <c:v>20.44172267505601</c:v>
                </c:pt>
                <c:pt idx="12">
                  <c:v>9.6999765654871304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0"/>
        <c:overlap val="23"/>
        <c:axId val="128116992"/>
        <c:axId val="148484096"/>
      </c:barChart>
      <c:catAx>
        <c:axId val="12811699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>
                <a:latin typeface="ITC Franklin Gothic Book" panose="020B0504030503020204" pitchFamily="34" charset="0"/>
              </a:defRPr>
            </a:pPr>
            <a:endParaRPr lang="en-US"/>
          </a:p>
        </c:txPr>
        <c:crossAx val="148484096"/>
        <c:crosses val="autoZero"/>
        <c:auto val="1"/>
        <c:lblAlgn val="ctr"/>
        <c:lblOffset val="100"/>
        <c:noMultiLvlLbl val="0"/>
      </c:catAx>
      <c:valAx>
        <c:axId val="148484096"/>
        <c:scaling>
          <c:orientation val="minMax"/>
        </c:scaling>
        <c:delete val="1"/>
        <c:axPos val="l"/>
        <c:numFmt formatCode="_(&quot;$&quot;* #,##0_);_(&quot;$&quot;* \(#,##0\);_(&quot;$&quot;* &quot;-&quot;_);_(@_)" sourceLinked="0"/>
        <c:majorTickMark val="out"/>
        <c:minorTickMark val="none"/>
        <c:tickLblPos val="nextTo"/>
        <c:crossAx val="12811699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0323" cy="460375"/>
          </a:xfrm>
          <a:prstGeom prst="rect">
            <a:avLst/>
          </a:prstGeom>
        </p:spPr>
        <p:txBody>
          <a:bodyPr vert="horz" lIns="92309" tIns="46154" rIns="92309" bIns="4615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4969" y="0"/>
            <a:ext cx="3010323" cy="460375"/>
          </a:xfrm>
          <a:prstGeom prst="rect">
            <a:avLst/>
          </a:prstGeom>
        </p:spPr>
        <p:txBody>
          <a:bodyPr vert="horz" lIns="92309" tIns="46154" rIns="92309" bIns="46154" rtlCol="0"/>
          <a:lstStyle>
            <a:lvl1pPr algn="r">
              <a:defRPr sz="1200"/>
            </a:lvl1pPr>
          </a:lstStyle>
          <a:p>
            <a:fld id="{753538D1-0A2B-A942-B703-D6FD7A06C05B}" type="datetimeFigureOut">
              <a:rPr lang="en-US" smtClean="0"/>
              <a:t>10/30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45527"/>
            <a:ext cx="3010323" cy="460375"/>
          </a:xfrm>
          <a:prstGeom prst="rect">
            <a:avLst/>
          </a:prstGeom>
        </p:spPr>
        <p:txBody>
          <a:bodyPr vert="horz" lIns="92309" tIns="46154" rIns="92309" bIns="4615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4969" y="8745527"/>
            <a:ext cx="3010323" cy="460375"/>
          </a:xfrm>
          <a:prstGeom prst="rect">
            <a:avLst/>
          </a:prstGeom>
        </p:spPr>
        <p:txBody>
          <a:bodyPr vert="horz" lIns="92309" tIns="46154" rIns="92309" bIns="46154" rtlCol="0" anchor="b"/>
          <a:lstStyle>
            <a:lvl1pPr algn="r">
              <a:defRPr sz="1200"/>
            </a:lvl1pPr>
          </a:lstStyle>
          <a:p>
            <a:fld id="{92AA383A-DD25-0642-9EC5-CE4CA01A8B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35364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0323" cy="460375"/>
          </a:xfrm>
          <a:prstGeom prst="rect">
            <a:avLst/>
          </a:prstGeom>
        </p:spPr>
        <p:txBody>
          <a:bodyPr vert="horz" lIns="92309" tIns="46154" rIns="92309" bIns="4615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4969" y="0"/>
            <a:ext cx="3010323" cy="460375"/>
          </a:xfrm>
          <a:prstGeom prst="rect">
            <a:avLst/>
          </a:prstGeom>
        </p:spPr>
        <p:txBody>
          <a:bodyPr vert="horz" lIns="92309" tIns="46154" rIns="92309" bIns="46154" rtlCol="0"/>
          <a:lstStyle>
            <a:lvl1pPr algn="r">
              <a:defRPr sz="1200"/>
            </a:lvl1pPr>
          </a:lstStyle>
          <a:p>
            <a:fld id="{04BF050E-9237-7A42-A5F6-94AE3DEC2D72}" type="datetimeFigureOut">
              <a:rPr lang="en-US" smtClean="0"/>
              <a:t>10/30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71575" y="690563"/>
            <a:ext cx="4603750" cy="34528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09" tIns="46154" rIns="92309" bIns="4615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4690" y="4373563"/>
            <a:ext cx="5557520" cy="4143375"/>
          </a:xfrm>
          <a:prstGeom prst="rect">
            <a:avLst/>
          </a:prstGeom>
        </p:spPr>
        <p:txBody>
          <a:bodyPr vert="horz" lIns="92309" tIns="46154" rIns="92309" bIns="4615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45527"/>
            <a:ext cx="3010323" cy="460375"/>
          </a:xfrm>
          <a:prstGeom prst="rect">
            <a:avLst/>
          </a:prstGeom>
        </p:spPr>
        <p:txBody>
          <a:bodyPr vert="horz" lIns="92309" tIns="46154" rIns="92309" bIns="4615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4969" y="8745527"/>
            <a:ext cx="3010323" cy="460375"/>
          </a:xfrm>
          <a:prstGeom prst="rect">
            <a:avLst/>
          </a:prstGeom>
        </p:spPr>
        <p:txBody>
          <a:bodyPr vert="horz" lIns="92309" tIns="46154" rIns="92309" bIns="46154" rtlCol="0" anchor="b"/>
          <a:lstStyle>
            <a:lvl1pPr algn="r">
              <a:defRPr sz="1200"/>
            </a:lvl1pPr>
          </a:lstStyle>
          <a:p>
            <a:fld id="{6893E672-EFEC-514E-A9C0-F3EC3A35DE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3414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93E672-EFEC-514E-A9C0-F3EC3A35DE0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1005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25456D-0D34-4444-86F0-D6F330265127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27892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oulder –</a:t>
            </a:r>
            <a:r>
              <a:rPr lang="en-US" baseline="0" dirty="0" smtClean="0"/>
              <a:t> other income is the cost of salary for staff supported by programs</a:t>
            </a:r>
          </a:p>
          <a:p>
            <a:endParaRPr lang="en-US" baseline="0" dirty="0" smtClean="0"/>
          </a:p>
          <a:p>
            <a:r>
              <a:rPr lang="en-US" baseline="0" dirty="0" smtClean="0"/>
              <a:t>Conversation at Berkshire Taconic – more flexibility in order to thrive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25456D-0D34-4444-86F0-D6F330265127}" type="slidenum">
              <a:rPr lang="en-US" smtClean="0">
                <a:solidFill>
                  <a:prstClr val="black"/>
                </a:solidFill>
              </a:rPr>
              <a:pPr/>
              <a:t>1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99516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3075" indent="-173075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6B4BCC-E461-46B4-8F74-9DE69C12B013}" type="slidenum">
              <a:rPr lang="en-US" smtClean="0">
                <a:solidFill>
                  <a:prstClr val="black"/>
                </a:solidFill>
              </a:rPr>
              <a:pPr/>
              <a:t>2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391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12700" y="2057399"/>
            <a:ext cx="9171432" cy="2560320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2356967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3564705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pared for [client x]  |  January 19, 2015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087341" y="6544235"/>
            <a:ext cx="1060757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267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 w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267200"/>
          </a:xfrm>
        </p:spPr>
        <p:txBody>
          <a:bodyPr/>
          <a:lstStyle>
            <a:lvl1pPr marL="225425" indent="-225425"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762000"/>
            <a:ext cx="8229600" cy="381000"/>
          </a:xfrm>
        </p:spPr>
        <p:txBody>
          <a:bodyPr/>
          <a:lstStyle>
            <a:lvl1pPr marL="0" indent="0"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57200" y="1066800"/>
            <a:ext cx="8229600" cy="38100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57200" y="5867400"/>
            <a:ext cx="8229600" cy="457200"/>
          </a:xfrm>
          <a:prstGeom prst="roundRect">
            <a:avLst/>
          </a:prstGeom>
          <a:ln w="1905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62800" y="6583363"/>
            <a:ext cx="1981200" cy="274637"/>
          </a:xfrm>
          <a:prstGeom prst="rect">
            <a:avLst/>
          </a:prstGeom>
        </p:spPr>
        <p:txBody>
          <a:bodyPr/>
          <a:lstStyle>
            <a:lvl1pPr>
              <a:defRPr sz="800" b="0" cap="none" spc="0" smtClean="0">
                <a:ln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  <a:cs typeface="Arial" charset="0"/>
              </a:rPr>
              <a:t>© CF Insights 2011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05200" y="6583363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 sz="800" b="0" cap="none" spc="0">
                <a:ln>
                  <a:noFill/>
                </a:ln>
                <a:solidFill>
                  <a:schemeClr val="tx2"/>
                </a:solidFill>
                <a:effectLst/>
              </a:defRPr>
            </a:lvl1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B6729DED-6A4C-466E-8433-228AF169F93D}" type="slidenum">
              <a:rPr lang="en-US" smtClean="0">
                <a:solidFill>
                  <a:srgbClr val="0064AD"/>
                </a:solidFill>
                <a:cs typeface="Arial" charset="0"/>
              </a:rPr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64AD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27084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3977640" cy="4267200"/>
          </a:xfrm>
        </p:spPr>
        <p:txBody>
          <a:bodyPr/>
          <a:lstStyle>
            <a:lvl1pPr marL="225425" indent="-225425"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762000"/>
            <a:ext cx="8229600" cy="381000"/>
          </a:xfrm>
        </p:spPr>
        <p:txBody>
          <a:bodyPr/>
          <a:lstStyle>
            <a:lvl1pPr marL="0" indent="0"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57200" y="1066800"/>
            <a:ext cx="8229600" cy="38100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6"/>
          </p:nvPr>
        </p:nvSpPr>
        <p:spPr>
          <a:xfrm>
            <a:off x="4709160" y="1600201"/>
            <a:ext cx="3977640" cy="4267200"/>
          </a:xfrm>
        </p:spPr>
        <p:txBody>
          <a:bodyPr/>
          <a:lstStyle>
            <a:lvl1pPr marL="225425" indent="-225425"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505200" y="6583363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 sz="800" b="0" cap="none" spc="0">
                <a:ln>
                  <a:noFill/>
                </a:ln>
                <a:solidFill>
                  <a:schemeClr val="tx2"/>
                </a:solidFill>
                <a:effectLst/>
              </a:defRPr>
            </a:lvl1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B6729DED-6A4C-466E-8433-228AF169F93D}" type="slidenum">
              <a:rPr lang="en-US" smtClean="0">
                <a:solidFill>
                  <a:srgbClr val="0064AD"/>
                </a:solidFill>
                <a:cs typeface="Arial" charset="0"/>
              </a:rPr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64AD"/>
              </a:solidFill>
              <a:cs typeface="Arial" charset="0"/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62800" y="6583363"/>
            <a:ext cx="1981200" cy="274637"/>
          </a:xfrm>
          <a:prstGeom prst="rect">
            <a:avLst/>
          </a:prstGeom>
        </p:spPr>
        <p:txBody>
          <a:bodyPr/>
          <a:lstStyle>
            <a:lvl1pPr>
              <a:defRPr sz="800" b="0" cap="none" spc="0" smtClean="0">
                <a:ln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  <a:cs typeface="Arial" charset="0"/>
              </a:rPr>
              <a:t>© CF Insights 2011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57200" y="5867400"/>
            <a:ext cx="8229600" cy="457200"/>
          </a:xfrm>
          <a:prstGeom prst="roundRect">
            <a:avLst/>
          </a:prstGeom>
          <a:ln w="19050">
            <a:solidFill>
              <a:schemeClr val="tx2"/>
            </a:solidFill>
          </a:ln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59793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457200" y="838200"/>
            <a:ext cx="68580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0064AD"/>
                </a:solidFill>
                <a:cs typeface="Arial" charset="0"/>
              </a:rPr>
              <a:t>AGENDA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33400" y="1524000"/>
            <a:ext cx="8153400" cy="4648200"/>
          </a:xfrm>
        </p:spPr>
        <p:txBody>
          <a:bodyPr/>
          <a:lstStyle>
            <a:lvl1pPr marL="342900" indent="-342900">
              <a:spcBef>
                <a:spcPts val="2880"/>
              </a:spcBef>
              <a:buFont typeface="+mj-lt"/>
              <a:buAutoNum type="romanUcPeriod"/>
              <a:defRPr sz="2400">
                <a:latin typeface="+mn-lt"/>
              </a:defRPr>
            </a:lvl1pPr>
            <a:lvl2pPr>
              <a:spcBef>
                <a:spcPts val="2880"/>
              </a:spcBef>
              <a:defRPr sz="2400">
                <a:latin typeface="+mn-lt"/>
              </a:defRPr>
            </a:lvl2pPr>
            <a:lvl3pPr>
              <a:spcBef>
                <a:spcPts val="2880"/>
              </a:spcBef>
              <a:defRPr sz="2400">
                <a:latin typeface="+mn-lt"/>
              </a:defRPr>
            </a:lvl3pPr>
            <a:lvl4pPr>
              <a:spcBef>
                <a:spcPts val="2880"/>
              </a:spcBef>
              <a:defRPr sz="2400">
                <a:latin typeface="+mn-lt"/>
              </a:defRPr>
            </a:lvl4pPr>
            <a:lvl5pPr>
              <a:spcBef>
                <a:spcPts val="2880"/>
              </a:spcBef>
              <a:defRPr sz="24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62800" y="6583363"/>
            <a:ext cx="1981200" cy="274637"/>
          </a:xfrm>
          <a:prstGeom prst="rect">
            <a:avLst/>
          </a:prstGeom>
        </p:spPr>
        <p:txBody>
          <a:bodyPr/>
          <a:lstStyle>
            <a:lvl1pPr>
              <a:defRPr sz="800" b="0" cap="none" spc="0" smtClean="0">
                <a:ln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  <a:cs typeface="Arial" charset="0"/>
              </a:rPr>
              <a:t>© CF Insights 2011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05200" y="6583363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 sz="800" b="0" cap="none" spc="0">
                <a:ln>
                  <a:noFill/>
                </a:ln>
                <a:solidFill>
                  <a:schemeClr val="tx2"/>
                </a:solidFill>
                <a:effectLst/>
              </a:defRPr>
            </a:lvl1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B6729DED-6A4C-466E-8433-228AF169F93D}" type="slidenum">
              <a:rPr lang="en-US" smtClean="0">
                <a:solidFill>
                  <a:srgbClr val="0064AD"/>
                </a:solidFill>
                <a:cs typeface="Arial" charset="0"/>
              </a:rPr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64AD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22902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495799"/>
          </a:xfrm>
        </p:spPr>
        <p:txBody>
          <a:bodyPr/>
          <a:lstStyle>
            <a:lvl1pPr marL="225425" indent="-225425"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762000"/>
            <a:ext cx="8229600" cy="685800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62800" y="6583363"/>
            <a:ext cx="1981200" cy="274637"/>
          </a:xfrm>
          <a:prstGeom prst="rect">
            <a:avLst/>
          </a:prstGeom>
        </p:spPr>
        <p:txBody>
          <a:bodyPr/>
          <a:lstStyle>
            <a:lvl1pPr>
              <a:defRPr sz="800" b="0" cap="none" spc="0" smtClean="0">
                <a:ln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  <a:cs typeface="Arial" charset="0"/>
              </a:rPr>
              <a:t>© CF Insights 2011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05200" y="6583363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 sz="800" b="0" cap="none" spc="0">
                <a:ln>
                  <a:noFill/>
                </a:ln>
                <a:solidFill>
                  <a:schemeClr val="tx2"/>
                </a:solidFill>
                <a:effectLst/>
              </a:defRPr>
            </a:lvl1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B6729DED-6A4C-466E-8433-228AF169F93D}" type="slidenum">
              <a:rPr lang="en-US" smtClean="0">
                <a:solidFill>
                  <a:srgbClr val="0064AD"/>
                </a:solidFill>
                <a:cs typeface="Arial" charset="0"/>
              </a:rPr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64AD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38344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 w grey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762000"/>
            <a:ext cx="8229600" cy="381000"/>
          </a:xfrm>
        </p:spPr>
        <p:txBody>
          <a:bodyPr/>
          <a:lstStyle>
            <a:lvl1pPr marL="0" indent="0"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57200" y="1066800"/>
            <a:ext cx="8229600" cy="381000"/>
          </a:xfrm>
        </p:spPr>
        <p:txBody>
          <a:bodyPr/>
          <a:lstStyle>
            <a:lvl1pPr marL="0" indent="0">
              <a:buNone/>
              <a:defRPr sz="12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57200" y="5867400"/>
            <a:ext cx="8229600" cy="457200"/>
          </a:xfrm>
        </p:spPr>
        <p:txBody>
          <a:bodyPr/>
          <a:lstStyle>
            <a:lvl1pPr marL="0" indent="0">
              <a:buNone/>
              <a:defRPr sz="9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AutoShape 14"/>
          <p:cNvSpPr>
            <a:spLocks noChangeArrowheads="1"/>
          </p:cNvSpPr>
          <p:nvPr userDrawn="1"/>
        </p:nvSpPr>
        <p:spPr bwMode="auto">
          <a:xfrm>
            <a:off x="298450" y="1566863"/>
            <a:ext cx="4137025" cy="4081462"/>
          </a:xfrm>
          <a:prstGeom prst="roundRect">
            <a:avLst>
              <a:gd name="adj" fmla="val 6153"/>
            </a:avLst>
          </a:prstGeom>
          <a:solidFill>
            <a:schemeClr val="bg2">
              <a:alpha val="2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11" name="AutoShape 14"/>
          <p:cNvSpPr>
            <a:spLocks noChangeArrowheads="1"/>
          </p:cNvSpPr>
          <p:nvPr userDrawn="1"/>
        </p:nvSpPr>
        <p:spPr bwMode="auto">
          <a:xfrm>
            <a:off x="4708525" y="1566863"/>
            <a:ext cx="4137025" cy="4081462"/>
          </a:xfrm>
          <a:prstGeom prst="roundRect">
            <a:avLst>
              <a:gd name="adj" fmla="val 6153"/>
            </a:avLst>
          </a:prstGeom>
          <a:solidFill>
            <a:schemeClr val="bg2">
              <a:alpha val="2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62800" y="6583363"/>
            <a:ext cx="1981200" cy="274637"/>
          </a:xfrm>
          <a:prstGeom prst="rect">
            <a:avLst/>
          </a:prstGeom>
        </p:spPr>
        <p:txBody>
          <a:bodyPr/>
          <a:lstStyle>
            <a:lvl1pPr>
              <a:defRPr sz="800" b="0" cap="none" spc="0" smtClean="0">
                <a:ln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  <a:cs typeface="Arial" charset="0"/>
              </a:rPr>
              <a:t>© CF Insights 2011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05200" y="6583363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 sz="800" b="0" cap="none" spc="0">
                <a:ln>
                  <a:noFill/>
                </a:ln>
                <a:solidFill>
                  <a:schemeClr val="tx2"/>
                </a:solidFill>
                <a:effectLst/>
              </a:defRPr>
            </a:lvl1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B6729DED-6A4C-466E-8433-228AF169F93D}" type="slidenum">
              <a:rPr lang="en-US" smtClean="0">
                <a:solidFill>
                  <a:srgbClr val="0064AD"/>
                </a:solidFill>
                <a:cs typeface="Arial" charset="0"/>
              </a:rPr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64AD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76023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Rectangle 12"/>
          <p:cNvSpPr>
            <a:spLocks noChangeArrowheads="1"/>
          </p:cNvSpPr>
          <p:nvPr userDrawn="1"/>
        </p:nvSpPr>
        <p:spPr bwMode="auto">
          <a:xfrm>
            <a:off x="0" y="457200"/>
            <a:ext cx="9144000" cy="6019800"/>
          </a:xfrm>
          <a:prstGeom prst="rect">
            <a:avLst/>
          </a:prstGeom>
          <a:gradFill rotWithShape="1">
            <a:gsLst>
              <a:gs pos="0">
                <a:schemeClr val="tx2">
                  <a:alpha val="35000"/>
                </a:schemeClr>
              </a:gs>
              <a:gs pos="100000">
                <a:srgbClr val="FFFFFF">
                  <a:alpha val="25000"/>
                </a:srgbClr>
              </a:gs>
            </a:gsLst>
            <a:lin ang="0" scaled="1"/>
          </a:gradFill>
          <a:ln>
            <a:noFill/>
          </a:ln>
        </p:spPr>
        <p:txBody>
          <a:bodyPr/>
          <a:lstStyle/>
          <a:p>
            <a:pPr algn="ctr" defTabSz="914400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100" b="1">
              <a:solidFill>
                <a:srgbClr val="000000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495799"/>
          </a:xfrm>
        </p:spPr>
        <p:txBody>
          <a:bodyPr/>
          <a:lstStyle>
            <a:lvl1pPr marL="0" indent="0">
              <a:buNone/>
              <a:defRPr sz="3600">
                <a:latin typeface="+mn-lt"/>
              </a:defRPr>
            </a:lvl1pPr>
            <a:lvl2pPr>
              <a:defRPr sz="3600">
                <a:latin typeface="+mn-lt"/>
              </a:defRPr>
            </a:lvl2pPr>
            <a:lvl3pPr>
              <a:defRPr sz="3600">
                <a:latin typeface="+mn-lt"/>
              </a:defRPr>
            </a:lvl3pPr>
            <a:lvl4pPr>
              <a:defRPr sz="3600">
                <a:latin typeface="+mn-lt"/>
              </a:defRPr>
            </a:lvl4pPr>
            <a:lvl5pPr>
              <a:defRPr sz="36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62800" y="6583363"/>
            <a:ext cx="1981200" cy="274637"/>
          </a:xfrm>
          <a:prstGeom prst="rect">
            <a:avLst/>
          </a:prstGeom>
        </p:spPr>
        <p:txBody>
          <a:bodyPr/>
          <a:lstStyle>
            <a:lvl1pPr>
              <a:defRPr sz="800" b="0" cap="none" spc="0" smtClean="0">
                <a:ln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  <a:cs typeface="Arial" charset="0"/>
              </a:rPr>
              <a:t>© CF Insights 2011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05200" y="6583363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 sz="800" b="0" cap="none" spc="0">
                <a:ln>
                  <a:noFill/>
                </a:ln>
                <a:solidFill>
                  <a:schemeClr val="tx2"/>
                </a:solidFill>
                <a:effectLst/>
              </a:defRPr>
            </a:lvl1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B6729DED-6A4C-466E-8433-228AF169F93D}" type="slidenum">
              <a:rPr lang="en-US" smtClean="0">
                <a:solidFill>
                  <a:srgbClr val="0064AD"/>
                </a:solidFill>
                <a:cs typeface="Arial" charset="0"/>
              </a:rPr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64AD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89703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2"/>
          <p:cNvSpPr>
            <a:spLocks noChangeArrowheads="1"/>
          </p:cNvSpPr>
          <p:nvPr userDrawn="1"/>
        </p:nvSpPr>
        <p:spPr bwMode="auto">
          <a:xfrm>
            <a:off x="0" y="457200"/>
            <a:ext cx="9144000" cy="6019800"/>
          </a:xfrm>
          <a:prstGeom prst="rect">
            <a:avLst/>
          </a:prstGeom>
          <a:gradFill rotWithShape="1">
            <a:gsLst>
              <a:gs pos="0">
                <a:schemeClr val="tx2">
                  <a:alpha val="35000"/>
                </a:schemeClr>
              </a:gs>
              <a:gs pos="100000">
                <a:srgbClr val="FFFFFF">
                  <a:alpha val="25000"/>
                </a:srgbClr>
              </a:gs>
            </a:gsLst>
            <a:lin ang="0" scaled="1"/>
          </a:gradFill>
          <a:ln>
            <a:noFill/>
          </a:ln>
        </p:spPr>
        <p:txBody>
          <a:bodyPr/>
          <a:lstStyle/>
          <a:p>
            <a:pPr algn="ctr" defTabSz="914400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100" b="1">
              <a:solidFill>
                <a:srgbClr val="000000"/>
              </a:solidFill>
              <a:ea typeface="MS PGothic" pitchFamily="34" charset="-128"/>
              <a:cs typeface="Arial" charset="0"/>
            </a:endParaRPr>
          </a:p>
        </p:txBody>
      </p:sp>
      <p:pic>
        <p:nvPicPr>
          <p:cNvPr id="9" name="Picture 28" descr="cf_insights_logo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725" y="1350963"/>
            <a:ext cx="3862388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26"/>
          <p:cNvSpPr>
            <a:spLocks noChangeArrowheads="1"/>
          </p:cNvSpPr>
          <p:nvPr userDrawn="1"/>
        </p:nvSpPr>
        <p:spPr bwMode="auto">
          <a:xfrm>
            <a:off x="361950" y="2692400"/>
            <a:ext cx="5468938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b="1" dirty="0">
                <a:solidFill>
                  <a:srgbClr val="000000"/>
                </a:solidFill>
                <a:ea typeface="MS PGothic" pitchFamily="34" charset="-128"/>
                <a:cs typeface="Arial" charset="0"/>
              </a:rPr>
              <a:t>SHARING </a:t>
            </a:r>
            <a:r>
              <a:rPr lang="en-US" b="1" dirty="0">
                <a:solidFill>
                  <a:srgbClr val="0064AD"/>
                </a:solidFill>
                <a:ea typeface="MS PGothic" pitchFamily="34" charset="-128"/>
                <a:cs typeface="Arial" charset="0"/>
              </a:rPr>
              <a:t>KNOWLEDGE.</a:t>
            </a:r>
            <a:r>
              <a:rPr lang="en-US" b="1" dirty="0">
                <a:solidFill>
                  <a:srgbClr val="000000"/>
                </a:solidFill>
                <a:ea typeface="MS PGothic" pitchFamily="34" charset="-128"/>
                <a:cs typeface="Arial" charset="0"/>
              </a:rPr>
              <a:t> GROWING </a:t>
            </a:r>
            <a:r>
              <a:rPr lang="en-US" b="1" dirty="0">
                <a:solidFill>
                  <a:srgbClr val="0064AD"/>
                </a:solidFill>
                <a:ea typeface="MS PGothic" pitchFamily="34" charset="-128"/>
                <a:cs typeface="Arial" charset="0"/>
              </a:rPr>
              <a:t>IMPACT.</a:t>
            </a:r>
            <a:r>
              <a:rPr lang="en-US" b="1" dirty="0">
                <a:solidFill>
                  <a:srgbClr val="000000"/>
                </a:solidFill>
                <a:ea typeface="MS PGothic" pitchFamily="34" charset="-128"/>
                <a:cs typeface="Arial" charset="0"/>
              </a:rPr>
              <a:t> </a:t>
            </a:r>
          </a:p>
        </p:txBody>
      </p:sp>
      <p:sp>
        <p:nvSpPr>
          <p:cNvPr id="11" name="Rectangle 28"/>
          <p:cNvSpPr>
            <a:spLocks noChangeArrowheads="1"/>
          </p:cNvSpPr>
          <p:nvPr userDrawn="1"/>
        </p:nvSpPr>
        <p:spPr bwMode="auto">
          <a:xfrm>
            <a:off x="376238" y="3544888"/>
            <a:ext cx="2036762" cy="42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defTabSz="91440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2200" b="1">
                <a:solidFill>
                  <a:srgbClr val="0064AD"/>
                </a:solidFill>
                <a:ea typeface="MS PGothic" pitchFamily="34" charset="-128"/>
                <a:cs typeface="Arial" charset="0"/>
              </a:rPr>
              <a:t>cfinsights.org</a:t>
            </a:r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auto">
          <a:xfrm>
            <a:off x="371475" y="5059363"/>
            <a:ext cx="68580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808080"/>
                </a:solidFill>
                <a:cs typeface="Arial" charset="0"/>
              </a:rPr>
              <a:t>SPECIAL THANKS: </a:t>
            </a:r>
          </a:p>
        </p:txBody>
      </p:sp>
    </p:spTree>
    <p:extLst>
      <p:ext uri="{BB962C8B-B14F-4D97-AF65-F5344CB8AC3E}">
        <p14:creationId xmlns:p14="http://schemas.microsoft.com/office/powerpoint/2010/main" val="37280946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/>
          <p:cNvSpPr>
            <a:spLocks noChangeArrowheads="1"/>
          </p:cNvSpPr>
          <p:nvPr userDrawn="1"/>
        </p:nvSpPr>
        <p:spPr bwMode="auto">
          <a:xfrm>
            <a:off x="0" y="457200"/>
            <a:ext cx="9144000" cy="6019800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FFFFFF">
                  <a:alpha val="25000"/>
                </a:srgbClr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914400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100" b="1">
              <a:solidFill>
                <a:srgbClr val="000000"/>
              </a:solidFill>
              <a:ea typeface="MS PGothic" pitchFamily="34" charset="-128"/>
              <a:cs typeface="Arial" charset="0"/>
            </a:endParaRPr>
          </a:p>
        </p:txBody>
      </p:sp>
      <p:pic>
        <p:nvPicPr>
          <p:cNvPr id="5" name="Picture 28" descr="cf_insights_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6338" y="76200"/>
            <a:ext cx="1160462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2"/>
          <p:cNvSpPr>
            <a:spLocks noChangeArrowheads="1"/>
          </p:cNvSpPr>
          <p:nvPr userDrawn="1"/>
        </p:nvSpPr>
        <p:spPr bwMode="auto">
          <a:xfrm>
            <a:off x="0" y="457200"/>
            <a:ext cx="9144000" cy="76200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FFFFFF">
                  <a:alpha val="25000"/>
                </a:srgbClr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914400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100" b="1">
              <a:solidFill>
                <a:srgbClr val="000000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6400800"/>
            <a:ext cx="9144000" cy="76200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FFFFFF">
                  <a:alpha val="25000"/>
                </a:srgbClr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914400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100" b="1">
              <a:solidFill>
                <a:srgbClr val="000000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3074" name="Rectangle 2"/>
          <p:cNvSpPr>
            <a:spLocks noGrp="1" noChangeAspect="1" noChangeArrowheads="1"/>
          </p:cNvSpPr>
          <p:nvPr>
            <p:ph type="ctrTitle"/>
          </p:nvPr>
        </p:nvSpPr>
        <p:spPr>
          <a:xfrm>
            <a:off x="457200" y="1600200"/>
            <a:ext cx="8251825" cy="1473200"/>
          </a:xfrm>
        </p:spPr>
        <p:txBody>
          <a:bodyPr anchor="t"/>
          <a:lstStyle>
            <a:lvl1pPr>
              <a:defRPr sz="3600"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200" y="3886200"/>
            <a:ext cx="8229600" cy="1524000"/>
          </a:xfrm>
        </p:spPr>
        <p:txBody>
          <a:bodyPr/>
          <a:lstStyle>
            <a:lvl1pPr marL="0" indent="0">
              <a:buFontTx/>
              <a:buNone/>
              <a:defRPr sz="18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© CF Insights 2014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36549D-2225-4976-BC35-A66300E254A4}" type="slidenum">
              <a:rPr lang="en-US">
                <a:solidFill>
                  <a:srgbClr val="0064AD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64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6458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© CF Insights 2014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6CD2A1-8E58-42DC-A4C6-C472304F6F02}" type="slidenum">
              <a:rPr lang="en-US">
                <a:solidFill>
                  <a:srgbClr val="0064AD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64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63013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© CF Insights 2014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E99108-D8EB-4297-9CD4-C62490BC63C4}" type="slidenum">
              <a:rPr lang="en-US">
                <a:solidFill>
                  <a:srgbClr val="0064AD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64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94368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347472" y="1377831"/>
            <a:ext cx="7772400" cy="1197091"/>
          </a:xfrm>
          <a:prstGeom prst="rect">
            <a:avLst/>
          </a:prstGeom>
        </p:spPr>
        <p:txBody>
          <a:bodyPr anchor="b"/>
          <a:lstStyle>
            <a:lvl1pPr>
              <a:defRPr sz="4000">
                <a:solidFill>
                  <a:srgbClr val="005AAA"/>
                </a:solidFill>
              </a:defRPr>
            </a:lvl1pPr>
          </a:lstStyle>
          <a:p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7472" y="2585569"/>
            <a:ext cx="7772400" cy="7196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ent name, dat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8097974" y="6544235"/>
            <a:ext cx="1046025" cy="31376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woman weaving on loom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549" b="35279"/>
          <a:stretch/>
        </p:blipFill>
        <p:spPr>
          <a:xfrm>
            <a:off x="0" y="3421491"/>
            <a:ext cx="9150091" cy="303305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31518"/>
            <a:ext cx="3978975" cy="1055812"/>
          </a:xfrm>
          <a:prstGeom prst="rect">
            <a:avLst/>
          </a:prstGeom>
        </p:spPr>
      </p:pic>
      <p:pic>
        <p:nvPicPr>
          <p:cNvPr id="11" name="Picture 10" descr="FSG_locations list with pic back 2_Mumbai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6604379"/>
            <a:ext cx="8229600" cy="135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547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© CF Insights 2014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9A2C93-0030-40DD-A312-1F66BD27BDEF}" type="slidenum">
              <a:rPr lang="en-US">
                <a:solidFill>
                  <a:srgbClr val="0064AD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64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64050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© CF Insights 2014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728C8A-4462-4039-94A6-76D01CBC6CDD}" type="slidenum">
              <a:rPr lang="en-US">
                <a:solidFill>
                  <a:srgbClr val="0064AD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64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6530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© CF Insights 2014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21DAF5-0AFB-4F35-AE42-7B6865574190}" type="slidenum">
              <a:rPr lang="en-US">
                <a:solidFill>
                  <a:srgbClr val="0064AD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64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9004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© CF Insights 2014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01195F-F2D8-4D7F-B8B8-99AFA0E5CBC8}" type="slidenum">
              <a:rPr lang="en-US">
                <a:solidFill>
                  <a:srgbClr val="0064AD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64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85833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© CF Insights 2014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F2CE56-0419-42B2-8EB2-ACE97F599DED}" type="slidenum">
              <a:rPr lang="en-US">
                <a:solidFill>
                  <a:srgbClr val="0064AD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64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2333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325" y="60325"/>
            <a:ext cx="8382000" cy="2444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81000" y="1350963"/>
            <a:ext cx="8382000" cy="5049837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6006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576072" y="2212848"/>
            <a:ext cx="7010400" cy="1447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500" b="1">
                <a:latin typeface="ITC Franklin Gothic Book" panose="020B0504030503020204" pitchFamily="34" charset="0"/>
                <a:cs typeface="Arial" panose="020B0604020202020204" pitchFamily="34" charset="0"/>
              </a:defRPr>
            </a:lvl1pPr>
            <a:lvl2pPr marL="0" indent="0">
              <a:buNone/>
              <a:defRPr sz="2500" b="1" i="1">
                <a:latin typeface="ITC Franklin Gothic Book" panose="020B0504030503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576072" y="3776472"/>
            <a:ext cx="7010400" cy="13716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>
                <a:latin typeface="ITC Franklin Gothic Book" panose="020B0504030503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9075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533400"/>
            <a:ext cx="7924800" cy="884238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1800" b="1" kern="1200" dirty="0">
                <a:solidFill>
                  <a:srgbClr val="0070C0"/>
                </a:solidFill>
                <a:latin typeface="ITC Franklin Gothic Book" panose="020B05040305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52600"/>
            <a:ext cx="7924800" cy="4114800"/>
          </a:xfrm>
          <a:prstGeom prst="rect">
            <a:avLst/>
          </a:prstGeom>
        </p:spPr>
        <p:txBody>
          <a:bodyPr/>
          <a:lstStyle>
            <a:lvl1pPr>
              <a:defRPr>
                <a:latin typeface="ITC Franklin Gothic Book" panose="020B0504030503020204" pitchFamily="34" charset="0"/>
                <a:cs typeface="Arial" panose="020B0604020202020204" pitchFamily="34" charset="0"/>
              </a:defRPr>
            </a:lvl1pPr>
            <a:lvl2pPr>
              <a:defRPr>
                <a:latin typeface="ITC Franklin Gothic Book" panose="020B0504030503020204" pitchFamily="34" charset="0"/>
                <a:cs typeface="Arial" panose="020B0604020202020204" pitchFamily="34" charset="0"/>
              </a:defRPr>
            </a:lvl2pPr>
            <a:lvl3pPr>
              <a:defRPr>
                <a:latin typeface="ITC Franklin Gothic Book" panose="020B0504030503020204" pitchFamily="34" charset="0"/>
                <a:cs typeface="Arial" panose="020B0604020202020204" pitchFamily="34" charset="0"/>
              </a:defRPr>
            </a:lvl3pPr>
            <a:lvl4pPr>
              <a:defRPr>
                <a:latin typeface="ITC Franklin Gothic Book" panose="020B0504030503020204" pitchFamily="34" charset="0"/>
                <a:cs typeface="Arial" panose="020B0604020202020204" pitchFamily="34" charset="0"/>
              </a:defRPr>
            </a:lvl4pPr>
            <a:lvl5pPr>
              <a:defRPr>
                <a:latin typeface="ITC Franklin Gothic Book" panose="020B0504030503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7262812" y="6522496"/>
            <a:ext cx="1981200" cy="27463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latin typeface="ITC Franklin Gothic Book" panose="020B0504030503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0000"/>
                </a:solidFill>
                <a:cs typeface="Arial" charset="0"/>
              </a:rPr>
              <a:t>© CF Insights 2015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505200" y="6522496"/>
            <a:ext cx="2133600" cy="27463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latin typeface="ITC Franklin Gothic Book" panose="020B0504030503020204" pitchFamily="34" charset="0"/>
              </a:defRPr>
            </a:lvl1pPr>
          </a:lstStyle>
          <a:p>
            <a:pPr eaLnBrk="0" hangingPunct="0">
              <a:defRPr/>
            </a:pPr>
            <a:fld id="{B6729DED-6A4C-466E-8433-228AF169F93D}" type="slidenum">
              <a:rPr lang="en-US" smtClean="0">
                <a:solidFill>
                  <a:srgbClr val="0064AD"/>
                </a:solidFill>
              </a:rPr>
              <a:pPr eaLnBrk="0" hangingPunct="0">
                <a:defRPr/>
              </a:pPr>
              <a:t>‹#›</a:t>
            </a:fld>
            <a:endParaRPr lang="en-US" dirty="0">
              <a:solidFill>
                <a:srgbClr val="0064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5582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latin typeface="ITC Franklin Gothic Book" panose="020B05040305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ITC Franklin Gothic Book" panose="020B0504030503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7262812" y="6522496"/>
            <a:ext cx="1981200" cy="27463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latin typeface="ITC Franklin Gothic Book" panose="020B0504030503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0000"/>
                </a:solidFill>
                <a:cs typeface="Arial" charset="0"/>
              </a:rPr>
              <a:t>© CF Insights 2015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505200" y="6522496"/>
            <a:ext cx="2133600" cy="27463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latin typeface="ITC Franklin Gothic Book" panose="020B0504030503020204" pitchFamily="34" charset="0"/>
              </a:defRPr>
            </a:lvl1pPr>
          </a:lstStyle>
          <a:p>
            <a:pPr eaLnBrk="0" hangingPunct="0">
              <a:defRPr/>
            </a:pPr>
            <a:fld id="{B6729DED-6A4C-466E-8433-228AF169F93D}" type="slidenum">
              <a:rPr lang="en-US" smtClean="0">
                <a:solidFill>
                  <a:srgbClr val="0064AD"/>
                </a:solidFill>
              </a:rPr>
              <a:pPr eaLnBrk="0" hangingPunct="0">
                <a:defRPr/>
              </a:pPr>
              <a:t>‹#›</a:t>
            </a:fld>
            <a:endParaRPr lang="en-US" dirty="0">
              <a:solidFill>
                <a:srgbClr val="0064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8561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609600"/>
            <a:ext cx="83820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ITC Franklin Gothic Book" panose="020B05040305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828800"/>
            <a:ext cx="4038600" cy="4297363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ITC Franklin Gothic Book" panose="020B0504030503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ITC Franklin Gothic Book" panose="020B0504030503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ITC Franklin Gothic Book" panose="020B0504030503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ITC Franklin Gothic Book" panose="020B0504030503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ITC Franklin Gothic Book" panose="020B0504030503020204" pitchFamily="34" charset="0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88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ITC Franklin Gothic Book" panose="020B0504030503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ITC Franklin Gothic Book" panose="020B0504030503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ITC Franklin Gothic Book" panose="020B0504030503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ITC Franklin Gothic Book" panose="020B0504030503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ITC Franklin Gothic Book" panose="020B0504030503020204" pitchFamily="34" charset="0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7262812" y="6522496"/>
            <a:ext cx="1981200" cy="27463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latin typeface="ITC Franklin Gothic Book" panose="020B0504030503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0000"/>
                </a:solidFill>
                <a:cs typeface="Arial" charset="0"/>
              </a:rPr>
              <a:t>© CF Insights 2015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505200" y="6522496"/>
            <a:ext cx="2133600" cy="27463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latin typeface="ITC Franklin Gothic Book" panose="020B0504030503020204" pitchFamily="34" charset="0"/>
              </a:defRPr>
            </a:lvl1pPr>
          </a:lstStyle>
          <a:p>
            <a:pPr eaLnBrk="0" hangingPunct="0">
              <a:defRPr/>
            </a:pPr>
            <a:fld id="{B6729DED-6A4C-466E-8433-228AF169F93D}" type="slidenum">
              <a:rPr lang="en-US" smtClean="0">
                <a:solidFill>
                  <a:srgbClr val="0064AD"/>
                </a:solidFill>
              </a:rPr>
              <a:pPr eaLnBrk="0" hangingPunct="0">
                <a:defRPr/>
              </a:pPr>
              <a:t>‹#›</a:t>
            </a:fld>
            <a:endParaRPr lang="en-US" dirty="0">
              <a:solidFill>
                <a:srgbClr val="0064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2028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2538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73895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09600"/>
            <a:ext cx="8229600" cy="792162"/>
          </a:xfrm>
          <a:prstGeom prst="rect">
            <a:avLst/>
          </a:prstGeom>
        </p:spPr>
        <p:txBody>
          <a:bodyPr/>
          <a:lstStyle>
            <a:lvl1pPr>
              <a:defRPr>
                <a:latin typeface="ITC Franklin Gothic Book" panose="020B05040305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76399"/>
            <a:ext cx="4040188" cy="4984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>
                <a:latin typeface="ITC Franklin Gothic Book" panose="020B0504030503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ITC Franklin Gothic Book" panose="020B0504030503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ITC Franklin Gothic Book" panose="020B0504030503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ITC Franklin Gothic Book" panose="020B0504030503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ITC Franklin Gothic Book" panose="020B0504030503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ITC Franklin Gothic Book" panose="020B0504030503020204" pitchFamily="34" charset="0"/>
                <a:cs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676399"/>
            <a:ext cx="4041775" cy="4984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>
                <a:latin typeface="ITC Franklin Gothic Book" panose="020B0504030503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ITC Franklin Gothic Book" panose="020B0504030503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ITC Franklin Gothic Book" panose="020B0504030503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ITC Franklin Gothic Book" panose="020B0504030503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ITC Franklin Gothic Book" panose="020B0504030503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ITC Franklin Gothic Book" panose="020B0504030503020204" pitchFamily="34" charset="0"/>
                <a:cs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7262812" y="6522496"/>
            <a:ext cx="1981200" cy="27463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latin typeface="ITC Franklin Gothic Book" panose="020B0504030503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0000"/>
                </a:solidFill>
                <a:cs typeface="Arial" charset="0"/>
              </a:rPr>
              <a:t>© CF Insights 2015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3505200" y="6522496"/>
            <a:ext cx="2133600" cy="27463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latin typeface="ITC Franklin Gothic Book" panose="020B0504030503020204" pitchFamily="34" charset="0"/>
              </a:defRPr>
            </a:lvl1pPr>
          </a:lstStyle>
          <a:p>
            <a:pPr eaLnBrk="0" hangingPunct="0">
              <a:defRPr/>
            </a:pPr>
            <a:fld id="{B6729DED-6A4C-466E-8433-228AF169F93D}" type="slidenum">
              <a:rPr lang="en-US" smtClean="0">
                <a:solidFill>
                  <a:srgbClr val="0064AD"/>
                </a:solidFill>
              </a:rPr>
              <a:pPr eaLnBrk="0" hangingPunct="0">
                <a:defRPr/>
              </a:pPr>
              <a:t>‹#›</a:t>
            </a:fld>
            <a:endParaRPr lang="en-US" dirty="0">
              <a:solidFill>
                <a:srgbClr val="0064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0552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09600"/>
            <a:ext cx="3008313" cy="825500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latin typeface="ITC Franklin Gothic Book" panose="020B05040305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609600"/>
            <a:ext cx="5111750" cy="5516563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ITC Franklin Gothic Book" panose="020B0504030503020204" pitchFamily="34" charset="0"/>
                <a:cs typeface="Arial" panose="020B0604020202020204" pitchFamily="34" charset="0"/>
              </a:defRPr>
            </a:lvl1pPr>
            <a:lvl2pPr>
              <a:defRPr sz="2800">
                <a:latin typeface="ITC Franklin Gothic Book" panose="020B0504030503020204" pitchFamily="34" charset="0"/>
                <a:cs typeface="Arial" panose="020B0604020202020204" pitchFamily="34" charset="0"/>
              </a:defRPr>
            </a:lvl2pPr>
            <a:lvl3pPr>
              <a:defRPr sz="2400">
                <a:latin typeface="ITC Franklin Gothic Book" panose="020B0504030503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ITC Franklin Gothic Book" panose="020B0504030503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ITC Franklin Gothic Book" panose="020B0504030503020204" pitchFamily="34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ITC Franklin Gothic Book" panose="020B0504030503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7262812" y="6522496"/>
            <a:ext cx="1981200" cy="27463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latin typeface="ITC Franklin Gothic Book" panose="020B0504030503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0000"/>
                </a:solidFill>
                <a:cs typeface="Arial" charset="0"/>
              </a:rPr>
              <a:t>© CF Insights 2015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505200" y="6522496"/>
            <a:ext cx="2133600" cy="27463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latin typeface="ITC Franklin Gothic Book" panose="020B0504030503020204" pitchFamily="34" charset="0"/>
              </a:defRPr>
            </a:lvl1pPr>
          </a:lstStyle>
          <a:p>
            <a:pPr eaLnBrk="0" hangingPunct="0">
              <a:defRPr/>
            </a:pPr>
            <a:fld id="{B6729DED-6A4C-466E-8433-228AF169F93D}" type="slidenum">
              <a:rPr lang="en-US" smtClean="0">
                <a:solidFill>
                  <a:srgbClr val="0064AD"/>
                </a:solidFill>
              </a:rPr>
              <a:pPr eaLnBrk="0" hangingPunct="0">
                <a:defRPr/>
              </a:pPr>
              <a:t>‹#›</a:t>
            </a:fld>
            <a:endParaRPr lang="en-US" dirty="0">
              <a:solidFill>
                <a:srgbClr val="0064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1386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latin typeface="ITC Franklin Gothic Book" panose="020B05040305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ITC Franklin Gothic Book" panose="020B0504030503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ITC Franklin Gothic Book" panose="020B0504030503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7262812" y="6522496"/>
            <a:ext cx="1981200" cy="27463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latin typeface="ITC Franklin Gothic Book" panose="020B0504030503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0000"/>
                </a:solidFill>
                <a:cs typeface="Arial" charset="0"/>
              </a:rPr>
              <a:t>© CF Insights 2015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505200" y="6522496"/>
            <a:ext cx="2133600" cy="27463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latin typeface="ITC Franklin Gothic Book" panose="020B0504030503020204" pitchFamily="34" charset="0"/>
              </a:defRPr>
            </a:lvl1pPr>
          </a:lstStyle>
          <a:p>
            <a:pPr eaLnBrk="0" hangingPunct="0">
              <a:defRPr/>
            </a:pPr>
            <a:fld id="{B6729DED-6A4C-466E-8433-228AF169F93D}" type="slidenum">
              <a:rPr lang="en-US" smtClean="0">
                <a:solidFill>
                  <a:srgbClr val="0064AD"/>
                </a:solidFill>
              </a:rPr>
              <a:pPr eaLnBrk="0" hangingPunct="0">
                <a:defRPr/>
              </a:pPr>
              <a:t>‹#›</a:t>
            </a:fld>
            <a:endParaRPr lang="en-US" dirty="0">
              <a:solidFill>
                <a:srgbClr val="0064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54216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55448" y="36576"/>
            <a:ext cx="2438400" cy="344424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800">
                <a:latin typeface="ITC Franklin Gothic Book" panose="020B0504030503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 dirty="0" smtClean="0"/>
              <a:t>Click to edit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505200" y="6507163"/>
            <a:ext cx="2133600" cy="274637"/>
          </a:xfrm>
        </p:spPr>
        <p:txBody>
          <a:bodyPr/>
          <a:lstStyle>
            <a:lvl1pPr>
              <a:defRPr>
                <a:latin typeface="ITC Franklin Gothic Book" panose="020B0504030503020204" pitchFamily="34" charset="0"/>
              </a:defRPr>
            </a:lvl1pPr>
          </a:lstStyle>
          <a:p>
            <a:pPr eaLnBrk="0" hangingPunct="0">
              <a:defRPr/>
            </a:pPr>
            <a:fld id="{B6729DED-6A4C-466E-8433-228AF169F93D}" type="slidenum">
              <a:rPr lang="en-US" smtClean="0">
                <a:solidFill>
                  <a:srgbClr val="0064AD"/>
                </a:solidFill>
              </a:rPr>
              <a:pPr eaLnBrk="0" hangingPunct="0">
                <a:defRPr/>
              </a:pPr>
              <a:t>‹#›</a:t>
            </a:fld>
            <a:endParaRPr lang="en-US" dirty="0">
              <a:solidFill>
                <a:srgbClr val="0064AD"/>
              </a:solidFill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7262812" y="6507163"/>
            <a:ext cx="1981200" cy="274637"/>
          </a:xfrm>
        </p:spPr>
        <p:txBody>
          <a:bodyPr/>
          <a:lstStyle>
            <a:lvl1pPr>
              <a:defRPr>
                <a:latin typeface="ITC Franklin Gothic Book" panose="020B0504030503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0000"/>
                </a:solidFill>
                <a:cs typeface="Arial" charset="0"/>
              </a:rPr>
              <a:t>© CF Insights 2015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4127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021556"/>
            <a:ext cx="8229600" cy="5104607"/>
          </a:xfrm>
          <a:prstGeom prst="rect">
            <a:avLst/>
          </a:prstGeom>
        </p:spPr>
        <p:txBody>
          <a:bodyPr/>
          <a:lstStyle>
            <a:lvl2pPr>
              <a:defRPr sz="1600">
                <a:latin typeface="ITC Franklin Gothic Book" panose="020B0504030503020204" pitchFamily="34" charset="0"/>
                <a:cs typeface="Arial" panose="020B0604020202020204" pitchFamily="34" charset="0"/>
              </a:defRPr>
            </a:lvl2pPr>
            <a:lvl3pPr marL="1409700" marR="0" indent="-3778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 sz="1400" baseline="0"/>
            </a:lvl3pPr>
          </a:lstStyle>
          <a:p>
            <a:pPr marL="1009650" lvl="1" indent="-609600" eaLnBrk="1" hangingPunct="1">
              <a:spcBef>
                <a:spcPct val="100000"/>
              </a:spcBef>
              <a:buFontTx/>
              <a:buAutoNum type="romanUcPeriod"/>
            </a:pPr>
            <a:endParaRPr lang="en-US" dirty="0" smtClean="0"/>
          </a:p>
          <a:p>
            <a:pPr marL="1009650" lvl="1" indent="-609600">
              <a:spcBef>
                <a:spcPts val="1800"/>
              </a:spcBef>
              <a:buFontTx/>
              <a:buAutoNum type="romanUcPeriod"/>
            </a:pPr>
            <a:r>
              <a:rPr lang="en-US" dirty="0" smtClean="0"/>
              <a:t>First item</a:t>
            </a:r>
          </a:p>
          <a:p>
            <a:pPr marL="1009650" lvl="1" indent="-609600">
              <a:spcBef>
                <a:spcPts val="1800"/>
              </a:spcBef>
              <a:buFontTx/>
              <a:buAutoNum type="romanUcPeriod"/>
            </a:pPr>
            <a:r>
              <a:rPr lang="en-US" dirty="0" smtClean="0"/>
              <a:t>Second item</a:t>
            </a:r>
          </a:p>
          <a:p>
            <a:pPr marL="1009650" lvl="1" indent="-609600">
              <a:spcBef>
                <a:spcPts val="1800"/>
              </a:spcBef>
              <a:buFontTx/>
              <a:buAutoNum type="romanUcPeriod"/>
            </a:pPr>
            <a:r>
              <a:rPr lang="en-US" dirty="0" smtClean="0"/>
              <a:t>Third item</a:t>
            </a:r>
          </a:p>
          <a:p>
            <a:pPr marL="1009650" lvl="1" indent="-609600">
              <a:spcBef>
                <a:spcPts val="1800"/>
              </a:spcBef>
              <a:buFontTx/>
              <a:buAutoNum type="romanUcPeriod"/>
            </a:pPr>
            <a:r>
              <a:rPr lang="en-US" dirty="0" smtClean="0"/>
              <a:t>Fourth item</a:t>
            </a:r>
          </a:p>
          <a:p>
            <a:pPr marL="1409700" lvl="2" indent="-377825">
              <a:spcBef>
                <a:spcPts val="600"/>
              </a:spcBef>
              <a:buFont typeface="+mj-lt"/>
              <a:buAutoNum type="alphaLcParenR"/>
            </a:pPr>
            <a:r>
              <a:rPr lang="en-US" dirty="0" smtClean="0"/>
              <a:t>Sub-item 1</a:t>
            </a:r>
          </a:p>
          <a:p>
            <a:pPr marL="1409700" marR="0" lvl="2" indent="-3778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lang="en-US" dirty="0" smtClean="0"/>
              <a:t>Sub-item 2</a:t>
            </a:r>
          </a:p>
          <a:p>
            <a:pPr marL="1409700" lvl="2" indent="-377825">
              <a:spcBef>
                <a:spcPts val="600"/>
              </a:spcBef>
              <a:buFont typeface="+mj-lt"/>
              <a:buAutoNum type="alphaLcParenR"/>
            </a:pPr>
            <a:r>
              <a:rPr lang="en-US" dirty="0" smtClean="0"/>
              <a:t>Sub-item 3</a:t>
            </a:r>
          </a:p>
          <a:p>
            <a:pPr marL="1409700" lvl="2" indent="-377825">
              <a:spcBef>
                <a:spcPts val="600"/>
              </a:spcBef>
              <a:buFont typeface="+mj-lt"/>
              <a:buAutoNum type="alphaLcParenR"/>
            </a:pPr>
            <a:r>
              <a:rPr lang="en-US" dirty="0" smtClean="0"/>
              <a:t>Sub-item 4</a:t>
            </a:r>
          </a:p>
          <a:p>
            <a:pPr marL="1009650" lvl="1" indent="-609600">
              <a:spcBef>
                <a:spcPts val="1800"/>
              </a:spcBef>
              <a:buFontTx/>
              <a:buAutoNum type="romanUcPeriod"/>
            </a:pPr>
            <a:r>
              <a:rPr lang="en-US" dirty="0" smtClean="0"/>
              <a:t>Questions to Consider &amp; Next Steps</a:t>
            </a:r>
          </a:p>
          <a:p>
            <a:pPr marL="1009650" lvl="1" indent="-609600">
              <a:spcBef>
                <a:spcPts val="1800"/>
              </a:spcBef>
              <a:buFontTx/>
              <a:buAutoNum type="romanUcPeriod"/>
            </a:pPr>
            <a:r>
              <a:rPr lang="en-US" dirty="0" smtClean="0"/>
              <a:t>Appendix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914400" y="1447800"/>
            <a:ext cx="7239000" cy="457200"/>
          </a:xfrm>
          <a:prstGeom prst="rect">
            <a:avLst/>
          </a:prstGeom>
          <a:solidFill>
            <a:srgbClr val="376092">
              <a:alpha val="3803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ITC Franklin Gothic Book" panose="020B0504030503020204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ITC Franklin Gothic Book" panose="020B0504030503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0000"/>
                </a:solidFill>
                <a:cs typeface="Arial" charset="0"/>
              </a:rPr>
              <a:t>© CF Insights 2015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ITC Franklin Gothic Book" panose="020B0504030503020204" pitchFamily="34" charset="0"/>
              </a:defRPr>
            </a:lvl1pPr>
          </a:lstStyle>
          <a:p>
            <a:pPr eaLnBrk="0" hangingPunct="0">
              <a:defRPr/>
            </a:pPr>
            <a:fld id="{B6729DED-6A4C-466E-8433-228AF169F93D}" type="slidenum">
              <a:rPr lang="en-US" smtClean="0">
                <a:solidFill>
                  <a:srgbClr val="0064AD"/>
                </a:solidFill>
              </a:rPr>
              <a:pPr eaLnBrk="0" hangingPunct="0">
                <a:defRPr/>
              </a:pPr>
              <a:t>‹#›</a:t>
            </a:fld>
            <a:endParaRPr lang="en-US" dirty="0">
              <a:solidFill>
                <a:srgbClr val="0064AD"/>
              </a:solidFill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auto">
          <a:xfrm>
            <a:off x="457200" y="602665"/>
            <a:ext cx="68580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/>
            <a:r>
              <a:rPr lang="en-US" sz="1600" b="1" dirty="0">
                <a:solidFill>
                  <a:srgbClr val="0064AD"/>
                </a:solidFill>
                <a:latin typeface="ITC Franklin Gothic Book" panose="020B0504030503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5936140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ue Title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ITC Franklin Gothic Book" panose="020B0504030503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495799"/>
          </a:xfrm>
          <a:prstGeom prst="rect">
            <a:avLst/>
          </a:prstGeom>
        </p:spPr>
        <p:txBody>
          <a:bodyPr/>
          <a:lstStyle>
            <a:lvl1pPr marL="225425" indent="-225425">
              <a:defRPr>
                <a:latin typeface="ITC Franklin Gothic Book" panose="020B0504030503020204" pitchFamily="34" charset="0"/>
              </a:defRPr>
            </a:lvl1pPr>
            <a:lvl2pPr>
              <a:defRPr>
                <a:latin typeface="ITC Franklin Gothic Book" panose="020B0504030503020204" pitchFamily="34" charset="0"/>
              </a:defRPr>
            </a:lvl2pPr>
            <a:lvl3pPr>
              <a:defRPr>
                <a:latin typeface="ITC Franklin Gothic Book" panose="020B0504030503020204" pitchFamily="34" charset="0"/>
              </a:defRPr>
            </a:lvl3pPr>
            <a:lvl4pPr>
              <a:defRPr>
                <a:latin typeface="ITC Franklin Gothic Book" panose="020B0504030503020204" pitchFamily="34" charset="0"/>
              </a:defRPr>
            </a:lvl4pPr>
            <a:lvl5pPr>
              <a:defRPr>
                <a:latin typeface="ITC Franklin Gothic Book" panose="020B0504030503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762000"/>
            <a:ext cx="8229600" cy="685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  <a:latin typeface="ITC Franklin Gothic Book" panose="020B0504030503020204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62800" y="6583363"/>
            <a:ext cx="1981200" cy="274637"/>
          </a:xfrm>
          <a:prstGeom prst="rect">
            <a:avLst/>
          </a:prstGeom>
        </p:spPr>
        <p:txBody>
          <a:bodyPr/>
          <a:lstStyle>
            <a:lvl1pPr>
              <a:defRPr sz="800" b="0" cap="none" spc="0" smtClean="0">
                <a:ln>
                  <a:noFill/>
                </a:ln>
                <a:solidFill>
                  <a:schemeClr val="tx1"/>
                </a:solidFill>
                <a:effectLst/>
                <a:latin typeface="ITC Franklin Gothic Book" panose="020B0504030503020204" pitchFamily="34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  <a:cs typeface="Arial" charset="0"/>
              </a:rPr>
              <a:t>© CF Insights 2015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8834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34901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90956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24679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10064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32157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224916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4720051" y="1188720"/>
            <a:ext cx="4156043" cy="512064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 marL="2055813" indent="-344488">
              <a:defRPr sz="1800"/>
            </a:lvl6pPr>
            <a:lvl7pPr marL="2055813" indent="-344488">
              <a:defRPr sz="1800"/>
            </a:lvl7pPr>
            <a:lvl8pPr marL="2055813" indent="-344488">
              <a:defRPr sz="1800"/>
            </a:lvl8pPr>
            <a:lvl9pPr marL="2055813" indent="-344488"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8600" y="1067398"/>
            <a:ext cx="86868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 smtClean="0"/>
              <a:t>Insert foot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9531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1976724"/>
            <a:ext cx="7772400" cy="1470025"/>
          </a:xfrm>
          <a:prstGeom prst="rect">
            <a:avLst/>
          </a:prstGeom>
        </p:spPr>
        <p:txBody>
          <a:bodyPr anchor="b"/>
          <a:lstStyle>
            <a:lvl1pPr>
              <a:defRPr sz="4000" baseline="0"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472337"/>
            <a:ext cx="7772400" cy="13686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55478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12700" y="6104628"/>
            <a:ext cx="9171432" cy="776021"/>
          </a:xfrm>
          <a:prstGeom prst="rect">
            <a:avLst/>
          </a:prstGeom>
          <a:solidFill>
            <a:srgbClr val="005AA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3246" y="2191887"/>
            <a:ext cx="5283304" cy="140191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104588" y="717176"/>
            <a:ext cx="8815294" cy="6723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FSG_locations list with no pic back_Mumbai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144" y="6479007"/>
            <a:ext cx="6839712" cy="112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8454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lai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/>
          <p:cNvSpPr>
            <a:spLocks noChangeArrowheads="1"/>
          </p:cNvSpPr>
          <p:nvPr userDrawn="1"/>
        </p:nvSpPr>
        <p:spPr bwMode="auto">
          <a:xfrm>
            <a:off x="0" y="496956"/>
            <a:ext cx="9144000" cy="6019800"/>
          </a:xfrm>
          <a:prstGeom prst="rect">
            <a:avLst/>
          </a:prstGeom>
          <a:gradFill rotWithShape="1">
            <a:gsLst>
              <a:gs pos="0">
                <a:schemeClr val="tx2">
                  <a:alpha val="35000"/>
                </a:schemeClr>
              </a:gs>
              <a:gs pos="100000">
                <a:srgbClr val="FFFFFF">
                  <a:alpha val="25000"/>
                </a:srgbClr>
              </a:gs>
            </a:gsLst>
            <a:lin ang="0" scaled="1"/>
          </a:gradFill>
          <a:ln>
            <a:noFill/>
          </a:ln>
        </p:spPr>
        <p:txBody>
          <a:bodyPr/>
          <a:lstStyle/>
          <a:p>
            <a:pPr algn="ctr" defTabSz="914400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100" b="1">
              <a:solidFill>
                <a:srgbClr val="000000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76263" y="1249363"/>
            <a:ext cx="8229600" cy="731837"/>
          </a:xfrm>
        </p:spPr>
        <p:txBody>
          <a:bodyPr anchor="t"/>
          <a:lstStyle>
            <a:lvl1pPr>
              <a:defRPr sz="3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4438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76263" y="4648200"/>
            <a:ext cx="8229600" cy="990600"/>
          </a:xfrm>
        </p:spPr>
        <p:txBody>
          <a:bodyPr/>
          <a:lstStyle>
            <a:lvl1pPr marL="0" indent="0">
              <a:buFontTx/>
              <a:buNone/>
              <a:defRPr sz="1800">
                <a:latin typeface="+mn-lt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11" name="Picture 28" descr="cf_insights_logo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8" y="2212975"/>
            <a:ext cx="5811837" cy="1509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4"/>
          <p:cNvSpPr txBox="1">
            <a:spLocks noChangeArrowheads="1"/>
          </p:cNvSpPr>
          <p:nvPr userDrawn="1"/>
        </p:nvSpPr>
        <p:spPr bwMode="auto">
          <a:xfrm>
            <a:off x="576263" y="4384675"/>
            <a:ext cx="8229600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914400" eaLnBrk="1" hangingPunct="1">
              <a:spcBef>
                <a:spcPts val="432"/>
              </a:spcBef>
              <a:buFontTx/>
              <a:buNone/>
            </a:pPr>
            <a:r>
              <a:rPr lang="en-US" sz="1200" dirty="0" smtClean="0">
                <a:solidFill>
                  <a:srgbClr val="808080"/>
                </a:solidFill>
                <a:latin typeface="Arial"/>
              </a:rPr>
              <a:t>PREPARED FOR:</a:t>
            </a:r>
          </a:p>
        </p:txBody>
      </p:sp>
      <p:sp>
        <p:nvSpPr>
          <p:cNvPr id="15" name="Rectangle 28"/>
          <p:cNvSpPr>
            <a:spLocks noChangeArrowheads="1"/>
          </p:cNvSpPr>
          <p:nvPr userDrawn="1"/>
        </p:nvSpPr>
        <p:spPr bwMode="auto">
          <a:xfrm>
            <a:off x="595313" y="5773738"/>
            <a:ext cx="2036762" cy="42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defTabSz="91440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2200" b="1" dirty="0">
                <a:solidFill>
                  <a:srgbClr val="0064AD"/>
                </a:solidFill>
                <a:ea typeface="MS PGothic" pitchFamily="34" charset="-128"/>
                <a:cs typeface="Arial" charset="0"/>
              </a:rPr>
              <a:t>cfinsights.org</a:t>
            </a:r>
          </a:p>
        </p:txBody>
      </p:sp>
      <p:sp>
        <p:nvSpPr>
          <p:cNvPr id="17" name="Rectangle 26"/>
          <p:cNvSpPr>
            <a:spLocks noChangeArrowheads="1"/>
          </p:cNvSpPr>
          <p:nvPr userDrawn="1"/>
        </p:nvSpPr>
        <p:spPr bwMode="auto">
          <a:xfrm>
            <a:off x="576263" y="123825"/>
            <a:ext cx="521176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100" b="1" dirty="0">
                <a:solidFill>
                  <a:srgbClr val="000000"/>
                </a:solidFill>
                <a:cs typeface="Arial" charset="0"/>
              </a:rPr>
              <a:t>SHARING </a:t>
            </a:r>
            <a:r>
              <a:rPr lang="en-US" sz="1100" b="1" dirty="0">
                <a:solidFill>
                  <a:srgbClr val="0064AD"/>
                </a:solidFill>
                <a:cs typeface="Arial" charset="0"/>
              </a:rPr>
              <a:t>KNOWLEDGE</a:t>
            </a:r>
            <a:r>
              <a:rPr lang="en-US" sz="1100" b="1" dirty="0">
                <a:solidFill>
                  <a:srgbClr val="000000"/>
                </a:solidFill>
                <a:cs typeface="Arial" charset="0"/>
              </a:rPr>
              <a:t>. GROWING </a:t>
            </a:r>
            <a:r>
              <a:rPr lang="en-US" sz="1100" b="1" dirty="0">
                <a:solidFill>
                  <a:srgbClr val="0064AD"/>
                </a:solidFill>
                <a:cs typeface="Arial" charset="0"/>
              </a:rPr>
              <a:t>IMPACT</a:t>
            </a:r>
            <a:r>
              <a:rPr lang="en-US" sz="1100" b="1" dirty="0">
                <a:solidFill>
                  <a:srgbClr val="000000"/>
                </a:solidFill>
                <a:cs typeface="Arial" charset="0"/>
              </a:rPr>
              <a:t>. </a:t>
            </a:r>
            <a:endParaRPr lang="en-US" sz="12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Rectangle 12"/>
          <p:cNvSpPr>
            <a:spLocks noChangeArrowheads="1"/>
          </p:cNvSpPr>
          <p:nvPr userDrawn="1"/>
        </p:nvSpPr>
        <p:spPr bwMode="auto">
          <a:xfrm>
            <a:off x="0" y="496956"/>
            <a:ext cx="9144000" cy="76200"/>
          </a:xfrm>
          <a:prstGeom prst="rect">
            <a:avLst/>
          </a:prstGeom>
          <a:gradFill rotWithShape="1">
            <a:gsLst>
              <a:gs pos="0">
                <a:schemeClr val="tx2">
                  <a:alpha val="35000"/>
                </a:schemeClr>
              </a:gs>
              <a:gs pos="100000">
                <a:srgbClr val="FFFFFF">
                  <a:alpha val="25000"/>
                </a:srgbClr>
              </a:gs>
            </a:gsLst>
            <a:lin ang="0" scaled="1"/>
          </a:gradFill>
          <a:ln>
            <a:noFill/>
          </a:ln>
        </p:spPr>
        <p:txBody>
          <a:bodyPr/>
          <a:lstStyle/>
          <a:p>
            <a:pPr algn="ctr" defTabSz="914400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100" b="1">
              <a:solidFill>
                <a:srgbClr val="000000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19" name="Rectangle 12"/>
          <p:cNvSpPr>
            <a:spLocks noChangeArrowheads="1"/>
          </p:cNvSpPr>
          <p:nvPr userDrawn="1"/>
        </p:nvSpPr>
        <p:spPr bwMode="auto">
          <a:xfrm>
            <a:off x="0" y="6440556"/>
            <a:ext cx="9144000" cy="76200"/>
          </a:xfrm>
          <a:prstGeom prst="rect">
            <a:avLst/>
          </a:prstGeom>
          <a:gradFill rotWithShape="1">
            <a:gsLst>
              <a:gs pos="0">
                <a:schemeClr val="tx2">
                  <a:alpha val="35000"/>
                </a:schemeClr>
              </a:gs>
              <a:gs pos="100000">
                <a:srgbClr val="FFFFFF">
                  <a:alpha val="25000"/>
                </a:srgbClr>
              </a:gs>
            </a:gsLst>
            <a:lin ang="0" scaled="1"/>
          </a:gradFill>
          <a:ln>
            <a:noFill/>
          </a:ln>
        </p:spPr>
        <p:txBody>
          <a:bodyPr/>
          <a:lstStyle/>
          <a:p>
            <a:pPr algn="ctr" defTabSz="914400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100" b="1">
              <a:solidFill>
                <a:srgbClr val="000000"/>
              </a:solidFill>
              <a:ea typeface="MS PGothic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27735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7.jpeg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image" Target="../media/image10.jpeg"/><Relationship Id="rId5" Type="http://schemas.openxmlformats.org/officeDocument/2006/relationships/slideLayout" Target="../slideLayouts/slideLayout21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3.jpeg"/><Relationship Id="rId4" Type="http://schemas.openxmlformats.org/officeDocument/2006/relationships/image" Target="../media/image12.gi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image" Target="../media/image13.jpeg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image" Target="../media/image12.gif"/><Relationship Id="rId5" Type="http://schemas.openxmlformats.org/officeDocument/2006/relationships/slideLayout" Target="../slideLayouts/slideLayout31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060864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2"/>
          <p:cNvSpPr>
            <a:spLocks noChangeArrowheads="1"/>
          </p:cNvSpPr>
          <p:nvPr/>
        </p:nvSpPr>
        <p:spPr bwMode="auto">
          <a:xfrm>
            <a:off x="8804030" y="6611779"/>
            <a:ext cx="3398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88" tIns="45720" rIns="90488" bIns="45720" anchor="ctr">
            <a:spAutoFit/>
          </a:bodyPr>
          <a:lstStyle/>
          <a:p>
            <a:pPr algn="ctr" eaLnBrk="0" hangingPunct="0"/>
            <a:fld id="{090EB062-F74A-48E3-949C-AE146B96ACCE}" type="slidenum">
              <a:rPr lang="en-US" sz="100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0" hangingPunct="0"/>
              <a:t>‹#›</a:t>
            </a:fld>
            <a:endParaRPr lang="en-US" sz="1000" dirty="0">
              <a:solidFill>
                <a:srgbClr val="AAAAA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035279" y="6611779"/>
            <a:ext cx="770687" cy="24622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r"/>
            <a:r>
              <a:rPr lang="en-US" sz="1000" dirty="0" smtClean="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FSG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473788" y="6611779"/>
            <a:ext cx="450476" cy="24622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r"/>
            <a:r>
              <a:rPr lang="en-US" sz="1000" dirty="0" smtClean="0">
                <a:solidFill>
                  <a:srgbClr val="AAAA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</a:p>
        </p:txBody>
      </p:sp>
    </p:spTree>
    <p:extLst>
      <p:ext uri="{BB962C8B-B14F-4D97-AF65-F5344CB8AC3E}">
        <p14:creationId xmlns:p14="http://schemas.microsoft.com/office/powerpoint/2010/main" val="2581720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0" r:id="rId2"/>
    <p:sldLayoutId id="2147483650" r:id="rId3"/>
    <p:sldLayoutId id="2147483667" r:id="rId4"/>
    <p:sldLayoutId id="2147483652" r:id="rId5"/>
    <p:sldLayoutId id="2147483668" r:id="rId6"/>
    <p:sldLayoutId id="2147483655" r:id="rId7"/>
    <p:sldLayoutId id="2147483666" r:id="rId8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000" kern="1200">
          <a:solidFill>
            <a:srgbClr val="005AAA"/>
          </a:solidFill>
          <a:latin typeface="+mj-lt"/>
          <a:ea typeface="+mj-ea"/>
          <a:cs typeface="+mj-cs"/>
        </a:defRPr>
      </a:lvl1pPr>
    </p:titleStyle>
    <p:bodyStyle>
      <a:lvl1pPr marL="3429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595959"/>
          </a:solidFill>
          <a:latin typeface="+mn-lt"/>
          <a:ea typeface="+mn-ea"/>
          <a:cs typeface="+mn-cs"/>
        </a:defRPr>
      </a:lvl1pPr>
      <a:lvl2pPr marL="742950" indent="-22860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rgbClr val="595959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rgbClr val="595959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rgbClr val="595959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rgbClr val="595959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0"/>
            <a:ext cx="6858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dirty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3076" name="Picture 28" descr="cf_insights_logo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6338" y="76200"/>
            <a:ext cx="1160462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80" name="Rectangle 12"/>
          <p:cNvSpPr>
            <a:spLocks noChangeArrowheads="1"/>
          </p:cNvSpPr>
          <p:nvPr/>
        </p:nvSpPr>
        <p:spPr bwMode="auto">
          <a:xfrm>
            <a:off x="0" y="457200"/>
            <a:ext cx="9144000" cy="76200"/>
          </a:xfrm>
          <a:prstGeom prst="rect">
            <a:avLst/>
          </a:prstGeom>
          <a:gradFill rotWithShape="1">
            <a:gsLst>
              <a:gs pos="0">
                <a:schemeClr val="tx2">
                  <a:alpha val="35000"/>
                </a:schemeClr>
              </a:gs>
              <a:gs pos="100000">
                <a:srgbClr val="FFFFFF">
                  <a:alpha val="25000"/>
                </a:srgbClr>
              </a:gs>
            </a:gsLst>
            <a:lin ang="0" scaled="1"/>
          </a:gradFill>
          <a:ln>
            <a:noFill/>
          </a:ln>
        </p:spPr>
        <p:txBody>
          <a:bodyPr/>
          <a:lstStyle/>
          <a:p>
            <a:pPr algn="ctr" defTabSz="914400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100" b="1">
              <a:solidFill>
                <a:srgbClr val="000000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3081" name="Rectangle 12"/>
          <p:cNvSpPr>
            <a:spLocks noChangeArrowheads="1"/>
          </p:cNvSpPr>
          <p:nvPr/>
        </p:nvSpPr>
        <p:spPr bwMode="auto">
          <a:xfrm>
            <a:off x="0" y="6400800"/>
            <a:ext cx="9144000" cy="76200"/>
          </a:xfrm>
          <a:prstGeom prst="rect">
            <a:avLst/>
          </a:prstGeom>
          <a:gradFill rotWithShape="1">
            <a:gsLst>
              <a:gs pos="0">
                <a:schemeClr val="tx2">
                  <a:alpha val="35000"/>
                </a:schemeClr>
              </a:gs>
              <a:gs pos="100000">
                <a:srgbClr val="FFFFFF">
                  <a:alpha val="25000"/>
                </a:srgbClr>
              </a:gs>
            </a:gsLst>
            <a:lin ang="0" scaled="1"/>
          </a:gradFill>
          <a:ln>
            <a:noFill/>
          </a:ln>
        </p:spPr>
        <p:txBody>
          <a:bodyPr/>
          <a:lstStyle/>
          <a:p>
            <a:pPr algn="ctr" defTabSz="914400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100" b="1">
              <a:solidFill>
                <a:srgbClr val="000000"/>
              </a:solidFill>
              <a:ea typeface="MS PGothic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8415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+mj-lt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Calibri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Calibri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cs typeface="Calibri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Calibri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Calibri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0"/>
            <a:ext cx="6858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7172" name="Picture 28" descr="cf_insights_logo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6338" y="76200"/>
            <a:ext cx="1160462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583363"/>
            <a:ext cx="2133600" cy="2746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800" smtClean="0">
                <a:solidFill>
                  <a:schemeClr val="tx1"/>
                </a:solidFill>
                <a:effectLst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791200" y="6583363"/>
            <a:ext cx="2895600" cy="2746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800">
                <a:solidFill>
                  <a:schemeClr val="tx1"/>
                </a:solidFill>
                <a:effectLst/>
                <a:cs typeface="Arial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0000"/>
                </a:solidFill>
              </a:rPr>
              <a:t>© CF Insights 2014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035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52800" y="6583363"/>
            <a:ext cx="2133600" cy="2746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800" b="1">
                <a:solidFill>
                  <a:schemeClr val="hlink"/>
                </a:solidFill>
                <a:effectLst/>
              </a:defRPr>
            </a:lvl1pPr>
          </a:lstStyle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B5AAF38B-4003-4DA0-982B-BE1ECE9EEC71}" type="slidenum">
              <a:rPr lang="en-US">
                <a:solidFill>
                  <a:srgbClr val="0064AD"/>
                </a:solidFill>
                <a:cs typeface="Arial" charset="0"/>
              </a:rPr>
              <a:pPr algn="ct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64AD"/>
              </a:solidFill>
              <a:cs typeface="Arial" charset="0"/>
            </a:endParaRPr>
          </a:p>
        </p:txBody>
      </p:sp>
      <p:sp>
        <p:nvSpPr>
          <p:cNvPr id="1032" name="Rectangle 12"/>
          <p:cNvSpPr>
            <a:spLocks noChangeArrowheads="1"/>
          </p:cNvSpPr>
          <p:nvPr/>
        </p:nvSpPr>
        <p:spPr bwMode="auto">
          <a:xfrm>
            <a:off x="0" y="457200"/>
            <a:ext cx="9144000" cy="76200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FFFFFF">
                  <a:alpha val="25000"/>
                </a:srgbClr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914400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100" b="1">
              <a:solidFill>
                <a:srgbClr val="000000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2" name="Rectangle 12"/>
          <p:cNvSpPr>
            <a:spLocks noChangeArrowheads="1"/>
          </p:cNvSpPr>
          <p:nvPr/>
        </p:nvSpPr>
        <p:spPr bwMode="auto">
          <a:xfrm>
            <a:off x="0" y="6400800"/>
            <a:ext cx="9144000" cy="76200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FFFFFF">
                  <a:alpha val="25000"/>
                </a:srgbClr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914400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100" b="1">
              <a:solidFill>
                <a:srgbClr val="000000"/>
              </a:solidFill>
              <a:ea typeface="MS PGothic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4668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2"/>
          <p:cNvSpPr>
            <a:spLocks noChangeArrowheads="1"/>
          </p:cNvSpPr>
          <p:nvPr/>
        </p:nvSpPr>
        <p:spPr bwMode="auto">
          <a:xfrm>
            <a:off x="0" y="455886"/>
            <a:ext cx="9144000" cy="6003073"/>
          </a:xfrm>
          <a:prstGeom prst="rect">
            <a:avLst/>
          </a:prstGeom>
          <a:gradFill rotWithShape="1">
            <a:gsLst>
              <a:gs pos="0">
                <a:srgbClr val="0064AD">
                  <a:alpha val="35001"/>
                </a:srgbClr>
              </a:gs>
              <a:gs pos="100000">
                <a:srgbClr val="FFFFFF">
                  <a:alpha val="25000"/>
                </a:srgbClr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14400">
              <a:spcBef>
                <a:spcPct val="50000"/>
              </a:spcBef>
              <a:defRPr/>
            </a:pPr>
            <a:endParaRPr lang="en-US" sz="1100" b="1" kern="0">
              <a:solidFill>
                <a:srgbClr val="000000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7" name="Rectangle 12"/>
          <p:cNvSpPr>
            <a:spLocks noChangeArrowheads="1"/>
          </p:cNvSpPr>
          <p:nvPr/>
        </p:nvSpPr>
        <p:spPr bwMode="auto">
          <a:xfrm>
            <a:off x="0" y="6384073"/>
            <a:ext cx="9144000" cy="76200"/>
          </a:xfrm>
          <a:prstGeom prst="rect">
            <a:avLst/>
          </a:prstGeom>
          <a:gradFill flip="none" rotWithShape="1">
            <a:gsLst>
              <a:gs pos="50000">
                <a:schemeClr val="accent6">
                  <a:lumMod val="60000"/>
                  <a:lumOff val="40000"/>
                  <a:alpha val="50000"/>
                </a:schemeClr>
              </a:gs>
              <a:gs pos="0">
                <a:schemeClr val="accent6"/>
              </a:gs>
              <a:gs pos="100000">
                <a:schemeClr val="accent6">
                  <a:lumMod val="20000"/>
                  <a:lumOff val="80000"/>
                  <a:alpha val="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914400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  <a:latin typeface="Arial" pitchFamily="34" charset="0"/>
              <a:ea typeface="MS PGothic" pitchFamily="34" charset="-128"/>
            </a:endParaRPr>
          </a:p>
        </p:txBody>
      </p:sp>
      <p:pic>
        <p:nvPicPr>
          <p:cNvPr id="9" name="Picture 7" descr="bubbles_293_25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r="49966"/>
          <a:stretch>
            <a:fillRect/>
          </a:stretch>
        </p:blipFill>
        <p:spPr bwMode="auto">
          <a:xfrm>
            <a:off x="5734050" y="0"/>
            <a:ext cx="3409950" cy="6857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12"/>
          <p:cNvSpPr>
            <a:spLocks noChangeArrowheads="1"/>
          </p:cNvSpPr>
          <p:nvPr/>
        </p:nvSpPr>
        <p:spPr bwMode="auto">
          <a:xfrm>
            <a:off x="0" y="464634"/>
            <a:ext cx="9144000" cy="76200"/>
          </a:xfrm>
          <a:prstGeom prst="rect">
            <a:avLst/>
          </a:prstGeom>
          <a:gradFill flip="none" rotWithShape="1">
            <a:gsLst>
              <a:gs pos="50000">
                <a:schemeClr val="accent6">
                  <a:lumMod val="60000"/>
                  <a:lumOff val="40000"/>
                  <a:alpha val="50000"/>
                </a:schemeClr>
              </a:gs>
              <a:gs pos="0">
                <a:schemeClr val="accent6"/>
              </a:gs>
              <a:gs pos="100000">
                <a:schemeClr val="accent6">
                  <a:lumMod val="20000"/>
                  <a:lumOff val="80000"/>
                  <a:alpha val="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914400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10" name="Rectangle 26"/>
          <p:cNvSpPr>
            <a:spLocks noChangeArrowheads="1"/>
          </p:cNvSpPr>
          <p:nvPr/>
        </p:nvSpPr>
        <p:spPr bwMode="auto">
          <a:xfrm>
            <a:off x="576263" y="123825"/>
            <a:ext cx="5211763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 eaLnBrk="0" hangingPunct="0"/>
            <a:r>
              <a:rPr lang="en-US" sz="1100" b="1" dirty="0">
                <a:solidFill>
                  <a:srgbClr val="000000"/>
                </a:solidFill>
                <a:latin typeface="Arial" pitchFamily="34" charset="0"/>
              </a:rPr>
              <a:t>SHARING </a:t>
            </a:r>
            <a:r>
              <a:rPr lang="en-US" sz="1100" b="1" dirty="0">
                <a:solidFill>
                  <a:srgbClr val="0064AD"/>
                </a:solidFill>
                <a:latin typeface="Arial" pitchFamily="34" charset="0"/>
              </a:rPr>
              <a:t>KNOWLEDGE</a:t>
            </a:r>
            <a:r>
              <a:rPr lang="en-US" sz="1100" b="1" dirty="0">
                <a:solidFill>
                  <a:srgbClr val="000000"/>
                </a:solidFill>
                <a:latin typeface="Arial" pitchFamily="34" charset="0"/>
              </a:rPr>
              <a:t>. GROWING </a:t>
            </a:r>
            <a:r>
              <a:rPr lang="en-US" sz="1100" b="1" dirty="0">
                <a:solidFill>
                  <a:srgbClr val="0064AD"/>
                </a:solidFill>
                <a:latin typeface="Arial" pitchFamily="34" charset="0"/>
              </a:rPr>
              <a:t>IMPACT</a:t>
            </a:r>
            <a:r>
              <a:rPr lang="en-US" sz="1100" b="1" dirty="0">
                <a:solidFill>
                  <a:srgbClr val="000000"/>
                </a:solidFill>
                <a:latin typeface="Arial" pitchFamily="34" charset="0"/>
              </a:rPr>
              <a:t>. </a:t>
            </a:r>
            <a:endParaRPr lang="en-US" sz="1200" b="1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11" name="Picture 5" descr="C:\Users\dar\Desktop\Foundation-Center-w-tagline-hex-255px.gi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1" y="6478626"/>
            <a:ext cx="838199" cy="371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28"/>
          <p:cNvSpPr>
            <a:spLocks noChangeArrowheads="1"/>
          </p:cNvSpPr>
          <p:nvPr/>
        </p:nvSpPr>
        <p:spPr bwMode="auto">
          <a:xfrm>
            <a:off x="576263" y="5773738"/>
            <a:ext cx="207300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914400">
              <a:spcBef>
                <a:spcPct val="50000"/>
              </a:spcBef>
            </a:pPr>
            <a:r>
              <a:rPr lang="en-US" sz="2400" b="1" dirty="0">
                <a:solidFill>
                  <a:srgbClr val="0064AD"/>
                </a:solidFill>
                <a:latin typeface="ITC Franklin Gothic Book" panose="020B0504030503020204" pitchFamily="34" charset="0"/>
              </a:rPr>
              <a:t>cfinsights.org</a:t>
            </a:r>
            <a:endParaRPr lang="en-US" sz="1100" b="1" dirty="0">
              <a:solidFill>
                <a:srgbClr val="0064AD"/>
              </a:solidFill>
              <a:latin typeface="ITC Franklin Gothic Book" panose="020B0504030503020204" pitchFamily="34" charset="0"/>
            </a:endParaRPr>
          </a:p>
        </p:txBody>
      </p:sp>
      <p:pic>
        <p:nvPicPr>
          <p:cNvPr id="15" name="Picture 28" descr="cf_insights_logo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62" y="1066800"/>
            <a:ext cx="2930419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352800" y="6525845"/>
            <a:ext cx="243840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>
              <a:defRPr/>
            </a:pPr>
            <a:r>
              <a:rPr lang="en-US" sz="1200" dirty="0" smtClean="0">
                <a:solidFill>
                  <a:srgbClr val="7F7F7F"/>
                </a:solidFill>
              </a:rPr>
              <a:t>© CF Insights 2015</a:t>
            </a:r>
            <a:endParaRPr lang="en-US" sz="1200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7539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5" descr="C:\Users\dar\Desktop\Foundation-Center-w-tagline-hex-255px.gif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56" y="6469566"/>
            <a:ext cx="858644" cy="380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7262812" y="6522496"/>
            <a:ext cx="1981200" cy="27463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latin typeface="ITC Franklin Gothic Book" panose="020B0504030503020204" pitchFamily="34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srgbClr val="000000"/>
                </a:solidFill>
                <a:cs typeface="Arial" charset="0"/>
              </a:rPr>
              <a:t>© CF Insights 2015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1" name="Picture 28" descr="cf_insights_logo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439025" y="33667"/>
            <a:ext cx="1628775" cy="423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3505200" y="6522496"/>
            <a:ext cx="2133600" cy="27463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latin typeface="ITC Franklin Gothic Book" panose="020B0504030503020204" pitchFamily="34" charset="0"/>
              </a:defRPr>
            </a:lvl1pPr>
          </a:lstStyle>
          <a:p>
            <a:pPr defTabSz="914400" eaLnBrk="0" hangingPunct="0">
              <a:defRPr/>
            </a:pPr>
            <a:fld id="{B6729DED-6A4C-466E-8433-228AF169F93D}" type="slidenum">
              <a:rPr lang="en-US" smtClean="0">
                <a:solidFill>
                  <a:srgbClr val="0064AD"/>
                </a:solidFill>
              </a:rPr>
              <a:pPr defTabSz="914400" eaLnBrk="0" hangingPunct="0">
                <a:defRPr/>
              </a:pPr>
              <a:t>‹#›</a:t>
            </a:fld>
            <a:endParaRPr lang="en-US" dirty="0">
              <a:solidFill>
                <a:srgbClr val="0064AD"/>
              </a:solidFill>
            </a:endParaRPr>
          </a:p>
        </p:txBody>
      </p:sp>
      <p:sp>
        <p:nvSpPr>
          <p:cNvPr id="10" name="Rectangle 12"/>
          <p:cNvSpPr>
            <a:spLocks noChangeArrowheads="1"/>
          </p:cNvSpPr>
          <p:nvPr userDrawn="1"/>
        </p:nvSpPr>
        <p:spPr bwMode="auto">
          <a:xfrm>
            <a:off x="0" y="6384073"/>
            <a:ext cx="9144000" cy="76200"/>
          </a:xfrm>
          <a:prstGeom prst="rect">
            <a:avLst/>
          </a:prstGeom>
          <a:gradFill flip="none" rotWithShape="1">
            <a:gsLst>
              <a:gs pos="50000">
                <a:schemeClr val="accent6">
                  <a:lumMod val="60000"/>
                  <a:lumOff val="40000"/>
                  <a:alpha val="50000"/>
                </a:schemeClr>
              </a:gs>
              <a:gs pos="0">
                <a:schemeClr val="accent6"/>
              </a:gs>
              <a:gs pos="100000">
                <a:schemeClr val="accent6">
                  <a:lumMod val="20000"/>
                  <a:lumOff val="80000"/>
                  <a:alpha val="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914400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0" y="464634"/>
            <a:ext cx="9144000" cy="76200"/>
          </a:xfrm>
          <a:prstGeom prst="rect">
            <a:avLst/>
          </a:prstGeom>
          <a:gradFill flip="none" rotWithShape="1">
            <a:gsLst>
              <a:gs pos="50000">
                <a:schemeClr val="accent6">
                  <a:lumMod val="60000"/>
                  <a:lumOff val="40000"/>
                  <a:alpha val="50000"/>
                </a:schemeClr>
              </a:gs>
              <a:gs pos="0">
                <a:schemeClr val="accent6"/>
              </a:gs>
              <a:gs pos="100000">
                <a:schemeClr val="accent6">
                  <a:lumMod val="20000"/>
                  <a:lumOff val="80000"/>
                  <a:alpha val="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914400" eaLnBrk="0" hangingPunct="0">
              <a:spcBef>
                <a:spcPct val="50000"/>
              </a:spcBef>
            </a:pPr>
            <a:endParaRPr lang="en-US" sz="1100" b="1" dirty="0">
              <a:solidFill>
                <a:srgbClr val="000000"/>
              </a:solidFill>
              <a:latin typeface="Arial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61988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13" Type="http://schemas.openxmlformats.org/officeDocument/2006/relationships/tags" Target="../tags/tag86.xml"/><Relationship Id="rId18" Type="http://schemas.openxmlformats.org/officeDocument/2006/relationships/tags" Target="../tags/tag91.xml"/><Relationship Id="rId3" Type="http://schemas.openxmlformats.org/officeDocument/2006/relationships/tags" Target="../tags/tag76.xml"/><Relationship Id="rId21" Type="http://schemas.openxmlformats.org/officeDocument/2006/relationships/tags" Target="../tags/tag94.xml"/><Relationship Id="rId7" Type="http://schemas.openxmlformats.org/officeDocument/2006/relationships/tags" Target="../tags/tag80.xml"/><Relationship Id="rId12" Type="http://schemas.openxmlformats.org/officeDocument/2006/relationships/tags" Target="../tags/tag85.xml"/><Relationship Id="rId17" Type="http://schemas.openxmlformats.org/officeDocument/2006/relationships/tags" Target="../tags/tag90.xml"/><Relationship Id="rId25" Type="http://schemas.openxmlformats.org/officeDocument/2006/relationships/slideLayout" Target="../slideLayouts/slideLayout4.xml"/><Relationship Id="rId2" Type="http://schemas.openxmlformats.org/officeDocument/2006/relationships/tags" Target="../tags/tag75.xml"/><Relationship Id="rId16" Type="http://schemas.openxmlformats.org/officeDocument/2006/relationships/tags" Target="../tags/tag89.xml"/><Relationship Id="rId20" Type="http://schemas.openxmlformats.org/officeDocument/2006/relationships/tags" Target="../tags/tag93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11" Type="http://schemas.openxmlformats.org/officeDocument/2006/relationships/tags" Target="../tags/tag84.xml"/><Relationship Id="rId24" Type="http://schemas.openxmlformats.org/officeDocument/2006/relationships/tags" Target="../tags/tag97.xml"/><Relationship Id="rId5" Type="http://schemas.openxmlformats.org/officeDocument/2006/relationships/tags" Target="../tags/tag78.xml"/><Relationship Id="rId15" Type="http://schemas.openxmlformats.org/officeDocument/2006/relationships/tags" Target="../tags/tag88.xml"/><Relationship Id="rId23" Type="http://schemas.openxmlformats.org/officeDocument/2006/relationships/tags" Target="../tags/tag96.xml"/><Relationship Id="rId10" Type="http://schemas.openxmlformats.org/officeDocument/2006/relationships/tags" Target="../tags/tag83.xml"/><Relationship Id="rId19" Type="http://schemas.openxmlformats.org/officeDocument/2006/relationships/tags" Target="../tags/tag92.xml"/><Relationship Id="rId4" Type="http://schemas.openxmlformats.org/officeDocument/2006/relationships/tags" Target="../tags/tag77.xml"/><Relationship Id="rId9" Type="http://schemas.openxmlformats.org/officeDocument/2006/relationships/tags" Target="../tags/tag82.xml"/><Relationship Id="rId14" Type="http://schemas.openxmlformats.org/officeDocument/2006/relationships/tags" Target="../tags/tag87.xml"/><Relationship Id="rId22" Type="http://schemas.openxmlformats.org/officeDocument/2006/relationships/tags" Target="../tags/tag9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tags" Target="../tags/tag110.xml"/><Relationship Id="rId18" Type="http://schemas.openxmlformats.org/officeDocument/2006/relationships/tags" Target="../tags/tag115.xml"/><Relationship Id="rId3" Type="http://schemas.openxmlformats.org/officeDocument/2006/relationships/tags" Target="../tags/tag100.xml"/><Relationship Id="rId21" Type="http://schemas.openxmlformats.org/officeDocument/2006/relationships/tags" Target="../tags/tag118.xml"/><Relationship Id="rId7" Type="http://schemas.openxmlformats.org/officeDocument/2006/relationships/tags" Target="../tags/tag104.xml"/><Relationship Id="rId12" Type="http://schemas.openxmlformats.org/officeDocument/2006/relationships/tags" Target="../tags/tag109.xml"/><Relationship Id="rId17" Type="http://schemas.openxmlformats.org/officeDocument/2006/relationships/tags" Target="../tags/tag114.xml"/><Relationship Id="rId25" Type="http://schemas.openxmlformats.org/officeDocument/2006/relationships/slideLayout" Target="../slideLayouts/slideLayout4.xml"/><Relationship Id="rId2" Type="http://schemas.openxmlformats.org/officeDocument/2006/relationships/tags" Target="../tags/tag99.xml"/><Relationship Id="rId16" Type="http://schemas.openxmlformats.org/officeDocument/2006/relationships/tags" Target="../tags/tag113.xml"/><Relationship Id="rId20" Type="http://schemas.openxmlformats.org/officeDocument/2006/relationships/tags" Target="../tags/tag117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tags" Target="../tags/tag108.xml"/><Relationship Id="rId24" Type="http://schemas.openxmlformats.org/officeDocument/2006/relationships/tags" Target="../tags/tag121.xml"/><Relationship Id="rId5" Type="http://schemas.openxmlformats.org/officeDocument/2006/relationships/tags" Target="../tags/tag102.xml"/><Relationship Id="rId15" Type="http://schemas.openxmlformats.org/officeDocument/2006/relationships/tags" Target="../tags/tag112.xml"/><Relationship Id="rId23" Type="http://schemas.openxmlformats.org/officeDocument/2006/relationships/tags" Target="../tags/tag120.xml"/><Relationship Id="rId10" Type="http://schemas.openxmlformats.org/officeDocument/2006/relationships/tags" Target="../tags/tag107.xml"/><Relationship Id="rId19" Type="http://schemas.openxmlformats.org/officeDocument/2006/relationships/tags" Target="../tags/tag116.xml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4" Type="http://schemas.openxmlformats.org/officeDocument/2006/relationships/tags" Target="../tags/tag111.xml"/><Relationship Id="rId22" Type="http://schemas.openxmlformats.org/officeDocument/2006/relationships/tags" Target="../tags/tag1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13" Type="http://schemas.openxmlformats.org/officeDocument/2006/relationships/tags" Target="../tags/tag134.xml"/><Relationship Id="rId18" Type="http://schemas.openxmlformats.org/officeDocument/2006/relationships/tags" Target="../tags/tag139.xml"/><Relationship Id="rId3" Type="http://schemas.openxmlformats.org/officeDocument/2006/relationships/tags" Target="../tags/tag124.xml"/><Relationship Id="rId21" Type="http://schemas.openxmlformats.org/officeDocument/2006/relationships/tags" Target="../tags/tag142.xml"/><Relationship Id="rId7" Type="http://schemas.openxmlformats.org/officeDocument/2006/relationships/tags" Target="../tags/tag128.xml"/><Relationship Id="rId12" Type="http://schemas.openxmlformats.org/officeDocument/2006/relationships/tags" Target="../tags/tag133.xml"/><Relationship Id="rId17" Type="http://schemas.openxmlformats.org/officeDocument/2006/relationships/tags" Target="../tags/tag138.xml"/><Relationship Id="rId25" Type="http://schemas.openxmlformats.org/officeDocument/2006/relationships/slideLayout" Target="../slideLayouts/slideLayout4.xml"/><Relationship Id="rId2" Type="http://schemas.openxmlformats.org/officeDocument/2006/relationships/tags" Target="../tags/tag123.xml"/><Relationship Id="rId16" Type="http://schemas.openxmlformats.org/officeDocument/2006/relationships/tags" Target="../tags/tag137.xml"/><Relationship Id="rId20" Type="http://schemas.openxmlformats.org/officeDocument/2006/relationships/tags" Target="../tags/tag141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11" Type="http://schemas.openxmlformats.org/officeDocument/2006/relationships/tags" Target="../tags/tag132.xml"/><Relationship Id="rId24" Type="http://schemas.openxmlformats.org/officeDocument/2006/relationships/tags" Target="../tags/tag145.xml"/><Relationship Id="rId5" Type="http://schemas.openxmlformats.org/officeDocument/2006/relationships/tags" Target="../tags/tag126.xml"/><Relationship Id="rId15" Type="http://schemas.openxmlformats.org/officeDocument/2006/relationships/tags" Target="../tags/tag136.xml"/><Relationship Id="rId23" Type="http://schemas.openxmlformats.org/officeDocument/2006/relationships/tags" Target="../tags/tag144.xml"/><Relationship Id="rId10" Type="http://schemas.openxmlformats.org/officeDocument/2006/relationships/tags" Target="../tags/tag131.xml"/><Relationship Id="rId19" Type="http://schemas.openxmlformats.org/officeDocument/2006/relationships/tags" Target="../tags/tag140.xml"/><Relationship Id="rId4" Type="http://schemas.openxmlformats.org/officeDocument/2006/relationships/tags" Target="../tags/tag125.xml"/><Relationship Id="rId9" Type="http://schemas.openxmlformats.org/officeDocument/2006/relationships/tags" Target="../tags/tag130.xml"/><Relationship Id="rId14" Type="http://schemas.openxmlformats.org/officeDocument/2006/relationships/tags" Target="../tags/tag135.xml"/><Relationship Id="rId22" Type="http://schemas.openxmlformats.org/officeDocument/2006/relationships/tags" Target="../tags/tag14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2.gif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46.xml"/><Relationship Id="rId4" Type="http://schemas.openxmlformats.org/officeDocument/2006/relationships/chart" Target="../charts/char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48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6.vml"/><Relationship Id="rId6" Type="http://schemas.openxmlformats.org/officeDocument/2006/relationships/tags" Target="../tags/tag151.xml"/><Relationship Id="rId5" Type="http://schemas.openxmlformats.org/officeDocument/2006/relationships/tags" Target="../tags/tag150.xml"/><Relationship Id="rId10" Type="http://schemas.openxmlformats.org/officeDocument/2006/relationships/chart" Target="../charts/chart4.xml"/><Relationship Id="rId4" Type="http://schemas.openxmlformats.org/officeDocument/2006/relationships/tags" Target="../tags/tag149.xml"/><Relationship Id="rId9" Type="http://schemas.openxmlformats.org/officeDocument/2006/relationships/image" Target="../media/image24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tags" Target="../tags/tag34.xml"/><Relationship Id="rId39" Type="http://schemas.openxmlformats.org/officeDocument/2006/relationships/tags" Target="../tags/tag47.xml"/><Relationship Id="rId3" Type="http://schemas.openxmlformats.org/officeDocument/2006/relationships/tags" Target="../tags/tag11.xml"/><Relationship Id="rId21" Type="http://schemas.openxmlformats.org/officeDocument/2006/relationships/tags" Target="../tags/tag29.xml"/><Relationship Id="rId34" Type="http://schemas.openxmlformats.org/officeDocument/2006/relationships/tags" Target="../tags/tag42.xml"/><Relationship Id="rId42" Type="http://schemas.openxmlformats.org/officeDocument/2006/relationships/slideLayout" Target="../slideLayouts/slideLayout4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33" Type="http://schemas.openxmlformats.org/officeDocument/2006/relationships/tags" Target="../tags/tag41.xml"/><Relationship Id="rId38" Type="http://schemas.openxmlformats.org/officeDocument/2006/relationships/tags" Target="../tags/tag46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29" Type="http://schemas.openxmlformats.org/officeDocument/2006/relationships/tags" Target="../tags/tag37.xml"/><Relationship Id="rId41" Type="http://schemas.openxmlformats.org/officeDocument/2006/relationships/tags" Target="../tags/tag49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24" Type="http://schemas.openxmlformats.org/officeDocument/2006/relationships/tags" Target="../tags/tag32.xml"/><Relationship Id="rId32" Type="http://schemas.openxmlformats.org/officeDocument/2006/relationships/tags" Target="../tags/tag40.xml"/><Relationship Id="rId37" Type="http://schemas.openxmlformats.org/officeDocument/2006/relationships/tags" Target="../tags/tag45.xml"/><Relationship Id="rId40" Type="http://schemas.openxmlformats.org/officeDocument/2006/relationships/tags" Target="../tags/tag48.xml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tags" Target="../tags/tag36.xml"/><Relationship Id="rId36" Type="http://schemas.openxmlformats.org/officeDocument/2006/relationships/tags" Target="../tags/tag44.xml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31" Type="http://schemas.openxmlformats.org/officeDocument/2006/relationships/tags" Target="../tags/tag39.xml"/><Relationship Id="rId44" Type="http://schemas.microsoft.com/office/2007/relationships/hdphoto" Target="../media/hdphoto1.wdp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30" Type="http://schemas.openxmlformats.org/officeDocument/2006/relationships/tags" Target="../tags/tag38.xml"/><Relationship Id="rId35" Type="http://schemas.openxmlformats.org/officeDocument/2006/relationships/tags" Target="../tags/tag43.xml"/><Relationship Id="rId43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tags" Target="../tags/tag62.xml"/><Relationship Id="rId18" Type="http://schemas.openxmlformats.org/officeDocument/2006/relationships/tags" Target="../tags/tag67.xml"/><Relationship Id="rId3" Type="http://schemas.openxmlformats.org/officeDocument/2006/relationships/tags" Target="../tags/tag52.xml"/><Relationship Id="rId21" Type="http://schemas.openxmlformats.org/officeDocument/2006/relationships/tags" Target="../tags/tag70.xml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17" Type="http://schemas.openxmlformats.org/officeDocument/2006/relationships/tags" Target="../tags/tag66.xml"/><Relationship Id="rId25" Type="http://schemas.openxmlformats.org/officeDocument/2006/relationships/slideLayout" Target="../slideLayouts/slideLayout4.xml"/><Relationship Id="rId2" Type="http://schemas.openxmlformats.org/officeDocument/2006/relationships/tags" Target="../tags/tag51.xml"/><Relationship Id="rId16" Type="http://schemas.openxmlformats.org/officeDocument/2006/relationships/tags" Target="../tags/tag65.xml"/><Relationship Id="rId20" Type="http://schemas.openxmlformats.org/officeDocument/2006/relationships/tags" Target="../tags/tag69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24" Type="http://schemas.openxmlformats.org/officeDocument/2006/relationships/tags" Target="../tags/tag73.xml"/><Relationship Id="rId5" Type="http://schemas.openxmlformats.org/officeDocument/2006/relationships/tags" Target="../tags/tag54.xml"/><Relationship Id="rId15" Type="http://schemas.openxmlformats.org/officeDocument/2006/relationships/tags" Target="../tags/tag64.xml"/><Relationship Id="rId23" Type="http://schemas.openxmlformats.org/officeDocument/2006/relationships/tags" Target="../tags/tag72.xml"/><Relationship Id="rId10" Type="http://schemas.openxmlformats.org/officeDocument/2006/relationships/tags" Target="../tags/tag59.xml"/><Relationship Id="rId19" Type="http://schemas.openxmlformats.org/officeDocument/2006/relationships/tags" Target="../tags/tag68.xml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tags" Target="../tags/tag63.xml"/><Relationship Id="rId22" Type="http://schemas.openxmlformats.org/officeDocument/2006/relationships/tags" Target="../tags/tag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47472" y="2534475"/>
            <a:ext cx="8550868" cy="756138"/>
          </a:xfrm>
        </p:spPr>
        <p:txBody>
          <a:bodyPr/>
          <a:lstStyle/>
          <a:p>
            <a:r>
              <a:rPr lang="en-US" sz="3600" dirty="0" smtClean="0"/>
              <a:t>WA Community Foundation Convening – </a:t>
            </a:r>
            <a:br>
              <a:rPr lang="en-US" sz="3600" dirty="0" smtClean="0"/>
            </a:br>
            <a:r>
              <a:rPr lang="en-US" sz="3600" dirty="0" smtClean="0"/>
              <a:t>Business Model Conversation</a:t>
            </a:r>
            <a:endParaRPr lang="en-US" sz="3600" b="1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360535" y="3533645"/>
            <a:ext cx="7772400" cy="719639"/>
          </a:xfrm>
        </p:spPr>
        <p:txBody>
          <a:bodyPr/>
          <a:lstStyle/>
          <a:p>
            <a:r>
              <a:rPr lang="en-US" dirty="0" smtClean="0"/>
              <a:t>November 2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083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“FUEL FOR CHANGE” COMMUNITY FOUNDATION</a:t>
            </a:r>
            <a:endParaRPr lang="en-US" sz="2400" dirty="0"/>
          </a:p>
        </p:txBody>
      </p:sp>
      <p:pic>
        <p:nvPicPr>
          <p:cNvPr id="8" name="Picture 7" descr="seed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63664" y="142571"/>
            <a:ext cx="4006472" cy="709642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“Do More than Grow”</a:t>
            </a:r>
            <a:endParaRPr lang="en-US" dirty="0"/>
          </a:p>
        </p:txBody>
      </p:sp>
      <p:sp>
        <p:nvSpPr>
          <p:cNvPr id="9" name="Text Box 16"/>
          <p:cNvSpPr txBox="1">
            <a:spLocks noChangeArrowheads="1"/>
          </p:cNvSpPr>
          <p:nvPr/>
        </p:nvSpPr>
        <p:spPr bwMode="auto">
          <a:xfrm>
            <a:off x="438150" y="1644650"/>
            <a:ext cx="7943850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7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kern="0" dirty="0" smtClean="0">
                <a:solidFill>
                  <a:srgbClr val="336699"/>
                </a:solidFill>
                <a:effectLst/>
              </a:rPr>
              <a:t>cares </a:t>
            </a:r>
            <a:r>
              <a:rPr lang="en-US" sz="2800" kern="0" dirty="0">
                <a:solidFill>
                  <a:srgbClr val="336699"/>
                </a:solidFill>
                <a:effectLst/>
              </a:rPr>
              <a:t>about cultivating a strong leadership role in the </a:t>
            </a:r>
            <a:r>
              <a:rPr lang="en-US" sz="2800" kern="0" dirty="0" smtClean="0">
                <a:solidFill>
                  <a:srgbClr val="336699"/>
                </a:solidFill>
                <a:effectLst/>
              </a:rPr>
              <a:t>community with DAFs supporting economics</a:t>
            </a: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srgbClr val="336699"/>
              </a:solidFill>
              <a:effectLst/>
              <a:uLnTx/>
              <a:uFillTx/>
            </a:endParaRPr>
          </a:p>
        </p:txBody>
      </p:sp>
      <p:sp>
        <p:nvSpPr>
          <p:cNvPr id="10" name="Text Box 13"/>
          <p:cNvSpPr txBox="1">
            <a:spLocks noChangeArrowheads="1"/>
          </p:cNvSpPr>
          <p:nvPr/>
        </p:nvSpPr>
        <p:spPr bwMode="auto">
          <a:xfrm>
            <a:off x="3290816" y="2816691"/>
            <a:ext cx="5395984" cy="34317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228600" indent="-165100" algn="l">
              <a:defRPr>
                <a:solidFill>
                  <a:schemeClr val="tx1"/>
                </a:solidFill>
                <a:latin typeface="Arial" charset="0"/>
              </a:defRPr>
            </a:lvl1pPr>
            <a:lvl2pPr algn="l">
              <a:defRPr>
                <a:solidFill>
                  <a:schemeClr val="tx1"/>
                </a:solidFill>
                <a:latin typeface="Arial" charset="0"/>
              </a:defRPr>
            </a:lvl2pPr>
            <a:lvl3pPr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63500" lvl="0" indent="0" algn="ctr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1800" b="1" kern="0" dirty="0" smtClean="0">
                <a:solidFill>
                  <a:srgbClr val="595959"/>
                </a:solidFill>
                <a:effectLst/>
              </a:rPr>
              <a:t>Our Message: </a:t>
            </a:r>
          </a:p>
          <a:p>
            <a:pPr marL="63500" lvl="0" indent="0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0" dirty="0" smtClean="0">
                <a:solidFill>
                  <a:srgbClr val="595959"/>
                </a:solidFill>
                <a:effectLst/>
              </a:rPr>
              <a:t>“We are a leader in the community but support your specific priorities through DAFs”</a:t>
            </a:r>
            <a:endParaRPr lang="en-US" sz="1800" kern="0" dirty="0">
              <a:solidFill>
                <a:srgbClr val="595959"/>
              </a:solidFill>
              <a:effectLst/>
            </a:endParaRPr>
          </a:p>
          <a:p>
            <a:pPr marL="63500" lvl="0" indent="0" algn="ctr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1800" b="1" kern="0" dirty="0" smtClean="0">
                <a:solidFill>
                  <a:srgbClr val="595959"/>
                </a:solidFill>
                <a:effectLst/>
              </a:rPr>
              <a:t>Our Approach: </a:t>
            </a:r>
          </a:p>
          <a:p>
            <a:pPr marL="63500" lvl="0" indent="0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0" dirty="0">
                <a:solidFill>
                  <a:srgbClr val="595959"/>
                </a:solidFill>
                <a:effectLst/>
              </a:rPr>
              <a:t>Focus attention on the donors with the greatest philanthropic capacity. Engage donors </a:t>
            </a:r>
            <a:r>
              <a:rPr lang="en-US" sz="1800" kern="0" dirty="0" smtClean="0">
                <a:solidFill>
                  <a:srgbClr val="595959"/>
                </a:solidFill>
                <a:effectLst/>
              </a:rPr>
              <a:t>personally, </a:t>
            </a:r>
            <a:r>
              <a:rPr lang="en-US" sz="1800" kern="0" dirty="0">
                <a:solidFill>
                  <a:srgbClr val="595959"/>
                </a:solidFill>
                <a:effectLst/>
              </a:rPr>
              <a:t>focusing on donor priorities</a:t>
            </a:r>
          </a:p>
          <a:p>
            <a:pPr marL="63500" indent="0" algn="ctr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1800" b="1" kern="0" dirty="0">
                <a:solidFill>
                  <a:srgbClr val="595959"/>
                </a:solidFill>
                <a:effectLst/>
              </a:rPr>
              <a:t>Question We Face: </a:t>
            </a:r>
          </a:p>
          <a:p>
            <a:pPr marL="63500" lvl="0" indent="0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0" dirty="0" smtClean="0">
                <a:solidFill>
                  <a:srgbClr val="595959"/>
                </a:solidFill>
                <a:effectLst/>
              </a:rPr>
              <a:t>Should we be </a:t>
            </a:r>
            <a:r>
              <a:rPr lang="en-US" sz="1800" kern="0" dirty="0">
                <a:solidFill>
                  <a:srgbClr val="595959"/>
                </a:solidFill>
                <a:effectLst/>
              </a:rPr>
              <a:t>aligning our programmatic work more with our </a:t>
            </a:r>
            <a:r>
              <a:rPr lang="en-US" sz="1800" kern="0" dirty="0" smtClean="0">
                <a:solidFill>
                  <a:srgbClr val="595959"/>
                </a:solidFill>
                <a:effectLst/>
              </a:rPr>
              <a:t>donors? Or </a:t>
            </a:r>
            <a:r>
              <a:rPr lang="en-US" sz="1800" kern="0" dirty="0">
                <a:solidFill>
                  <a:srgbClr val="595959"/>
                </a:solidFill>
                <a:effectLst/>
              </a:rPr>
              <a:t>engaging donors more in our programmatic and leadership </a:t>
            </a:r>
            <a:r>
              <a:rPr lang="en-US" sz="1800" kern="0" dirty="0" smtClean="0">
                <a:solidFill>
                  <a:srgbClr val="595959"/>
                </a:solidFill>
                <a:effectLst/>
              </a:rPr>
              <a:t>work?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595959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555618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“FUEL FOR CHANGE” COMMUNITY FOUNDATION</a:t>
            </a:r>
            <a:endParaRPr lang="en-US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“Do More than Grow”</a:t>
            </a:r>
            <a:endParaRPr lang="en-US" dirty="0"/>
          </a:p>
        </p:txBody>
      </p:sp>
      <p:grpSp>
        <p:nvGrpSpPr>
          <p:cNvPr id="192" name="Group 191"/>
          <p:cNvGrpSpPr/>
          <p:nvPr/>
        </p:nvGrpSpPr>
        <p:grpSpPr>
          <a:xfrm>
            <a:off x="5943600" y="2405390"/>
            <a:ext cx="2019300" cy="708630"/>
            <a:chOff x="5791200" y="2100590"/>
            <a:chExt cx="2019300" cy="708630"/>
          </a:xfrm>
        </p:grpSpPr>
        <p:sp>
          <p:nvSpPr>
            <p:cNvPr id="193" name="Rectangle 192"/>
            <p:cNvSpPr/>
            <p:nvPr/>
          </p:nvSpPr>
          <p:spPr>
            <a:xfrm>
              <a:off x="5867400" y="2391251"/>
              <a:ext cx="378933" cy="385465"/>
            </a:xfrm>
            <a:prstGeom prst="rect">
              <a:avLst/>
            </a:prstGeom>
            <a:solidFill>
              <a:srgbClr val="FA96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4" name="TextBox 193"/>
            <p:cNvSpPr txBox="1"/>
            <p:nvPr/>
          </p:nvSpPr>
          <p:spPr>
            <a:xfrm>
              <a:off x="5791200" y="2100590"/>
              <a:ext cx="20193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Pledge planned gifts</a:t>
              </a:r>
            </a:p>
          </p:txBody>
        </p:sp>
        <p:sp>
          <p:nvSpPr>
            <p:cNvPr id="195" name="TextBox 194"/>
            <p:cNvSpPr txBox="1"/>
            <p:nvPr/>
          </p:nvSpPr>
          <p:spPr>
            <a:xfrm>
              <a:off x="6220572" y="2286000"/>
              <a:ext cx="124702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13% 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vs</a:t>
              </a:r>
              <a:b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</a:b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13% average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196" name="Group 195"/>
          <p:cNvGrpSpPr/>
          <p:nvPr/>
        </p:nvGrpSpPr>
        <p:grpSpPr>
          <a:xfrm>
            <a:off x="5943600" y="3362474"/>
            <a:ext cx="2590800" cy="742146"/>
            <a:chOff x="5791200" y="2100590"/>
            <a:chExt cx="2590800" cy="742146"/>
          </a:xfrm>
        </p:grpSpPr>
        <p:sp>
          <p:nvSpPr>
            <p:cNvPr id="197" name="Rectangle 196"/>
            <p:cNvSpPr/>
            <p:nvPr/>
          </p:nvSpPr>
          <p:spPr>
            <a:xfrm>
              <a:off x="5867400" y="2395716"/>
              <a:ext cx="672739" cy="351949"/>
            </a:xfrm>
            <a:prstGeom prst="rect">
              <a:avLst/>
            </a:prstGeom>
            <a:solidFill>
              <a:srgbClr val="FA96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8" name="TextBox 197"/>
            <p:cNvSpPr txBox="1"/>
            <p:nvPr/>
          </p:nvSpPr>
          <p:spPr>
            <a:xfrm>
              <a:off x="5791200" y="2100590"/>
              <a:ext cx="20193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Contribute to flexible funds</a:t>
              </a:r>
            </a:p>
          </p:txBody>
        </p:sp>
        <p:sp>
          <p:nvSpPr>
            <p:cNvPr id="199" name="TextBox 198"/>
            <p:cNvSpPr txBox="1"/>
            <p:nvPr/>
          </p:nvSpPr>
          <p:spPr>
            <a:xfrm>
              <a:off x="6553201" y="2319516"/>
              <a:ext cx="182879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24% 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vs </a:t>
              </a: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/>
              </a:r>
              <a:b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</a:b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21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% average</a:t>
              </a:r>
            </a:p>
          </p:txBody>
        </p:sp>
      </p:grpSp>
      <p:grpSp>
        <p:nvGrpSpPr>
          <p:cNvPr id="200" name="Group 199"/>
          <p:cNvGrpSpPr/>
          <p:nvPr/>
        </p:nvGrpSpPr>
        <p:grpSpPr>
          <a:xfrm>
            <a:off x="5943600" y="4200674"/>
            <a:ext cx="3124200" cy="752326"/>
            <a:chOff x="5791200" y="2100590"/>
            <a:chExt cx="3124200" cy="752326"/>
          </a:xfrm>
        </p:grpSpPr>
        <p:sp>
          <p:nvSpPr>
            <p:cNvPr id="201" name="Rectangle 200"/>
            <p:cNvSpPr/>
            <p:nvPr/>
          </p:nvSpPr>
          <p:spPr>
            <a:xfrm>
              <a:off x="5867400" y="2391251"/>
              <a:ext cx="1752600" cy="385465"/>
            </a:xfrm>
            <a:prstGeom prst="rect">
              <a:avLst/>
            </a:prstGeom>
            <a:solidFill>
              <a:srgbClr val="FA96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2" name="TextBox 201"/>
            <p:cNvSpPr txBox="1"/>
            <p:nvPr/>
          </p:nvSpPr>
          <p:spPr>
            <a:xfrm>
              <a:off x="5791200" y="2100590"/>
              <a:ext cx="20193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Local grant dollars</a:t>
              </a:r>
            </a:p>
          </p:txBody>
        </p:sp>
        <p:sp>
          <p:nvSpPr>
            <p:cNvPr id="203" name="TextBox 202"/>
            <p:cNvSpPr txBox="1"/>
            <p:nvPr/>
          </p:nvSpPr>
          <p:spPr>
            <a:xfrm>
              <a:off x="7620000" y="2329696"/>
              <a:ext cx="12954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60% 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vs </a:t>
              </a:r>
              <a:b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</a:b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63% average</a:t>
              </a:r>
            </a:p>
          </p:txBody>
        </p:sp>
      </p:grpSp>
      <p:sp>
        <p:nvSpPr>
          <p:cNvPr id="204" name="TextBox 203"/>
          <p:cNvSpPr txBox="1"/>
          <p:nvPr/>
        </p:nvSpPr>
        <p:spPr>
          <a:xfrm>
            <a:off x="2264504" y="1838980"/>
            <a:ext cx="5203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</a:rPr>
              <a:t>Fuel for Change – High Effective Fee and Low Alignment</a:t>
            </a:r>
          </a:p>
        </p:txBody>
      </p:sp>
      <p:sp>
        <p:nvSpPr>
          <p:cNvPr id="205" name="TextBox 204"/>
          <p:cNvSpPr txBox="1"/>
          <p:nvPr/>
        </p:nvSpPr>
        <p:spPr>
          <a:xfrm>
            <a:off x="5943600" y="5105400"/>
            <a:ext cx="26088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A9600"/>
                </a:solidFill>
                <a:effectLst/>
                <a:uLnTx/>
                <a:uFillTx/>
                <a:latin typeface="Arial"/>
              </a:rPr>
              <a:t>Effective Fee: 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</a:rPr>
              <a:t>Relatively high – generating a surplus</a:t>
            </a:r>
          </a:p>
        </p:txBody>
      </p:sp>
      <p:grpSp>
        <p:nvGrpSpPr>
          <p:cNvPr id="206" name="Group 205"/>
          <p:cNvGrpSpPr/>
          <p:nvPr/>
        </p:nvGrpSpPr>
        <p:grpSpPr>
          <a:xfrm>
            <a:off x="-152400" y="3207603"/>
            <a:ext cx="6019800" cy="907197"/>
            <a:chOff x="426425" y="1066800"/>
            <a:chExt cx="7283959" cy="907197"/>
          </a:xfrm>
        </p:grpSpPr>
        <p:grpSp>
          <p:nvGrpSpPr>
            <p:cNvPr id="207" name="Group 206"/>
            <p:cNvGrpSpPr/>
            <p:nvPr>
              <p:custDataLst>
                <p:tags r:id="rId19"/>
              </p:custDataLst>
            </p:nvPr>
          </p:nvGrpSpPr>
          <p:grpSpPr>
            <a:xfrm>
              <a:off x="426425" y="1132582"/>
              <a:ext cx="7283959" cy="841415"/>
              <a:chOff x="-819650" y="3573959"/>
              <a:chExt cx="9694949" cy="841415"/>
            </a:xfrm>
          </p:grpSpPr>
          <p:grpSp>
            <p:nvGrpSpPr>
              <p:cNvPr id="209" name="Group 208"/>
              <p:cNvGrpSpPr/>
              <p:nvPr/>
            </p:nvGrpSpPr>
            <p:grpSpPr>
              <a:xfrm>
                <a:off x="407559" y="3573959"/>
                <a:ext cx="8467740" cy="841415"/>
                <a:chOff x="940959" y="2177534"/>
                <a:chExt cx="8467740" cy="841415"/>
              </a:xfrm>
            </p:grpSpPr>
            <p:grpSp>
              <p:nvGrpSpPr>
                <p:cNvPr id="211" name="Group 210"/>
                <p:cNvGrpSpPr/>
                <p:nvPr>
                  <p:custDataLst>
                    <p:tags r:id="rId22"/>
                  </p:custDataLst>
                </p:nvPr>
              </p:nvGrpSpPr>
              <p:grpSpPr>
                <a:xfrm>
                  <a:off x="3124200" y="2286000"/>
                  <a:ext cx="4191000" cy="152400"/>
                  <a:chOff x="1981200" y="2362200"/>
                  <a:chExt cx="3962400" cy="152400"/>
                </a:xfrm>
              </p:grpSpPr>
              <p:cxnSp>
                <p:nvCxnSpPr>
                  <p:cNvPr id="214" name="Straight Connector 213"/>
                  <p:cNvCxnSpPr/>
                  <p:nvPr/>
                </p:nvCxnSpPr>
                <p:spPr>
                  <a:xfrm>
                    <a:off x="19812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5" name="Straight Connector 214"/>
                  <p:cNvCxnSpPr/>
                  <p:nvPr/>
                </p:nvCxnSpPr>
                <p:spPr>
                  <a:xfrm>
                    <a:off x="59436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6" name="Straight Connector 215"/>
                  <p:cNvCxnSpPr/>
                  <p:nvPr/>
                </p:nvCxnSpPr>
                <p:spPr>
                  <a:xfrm>
                    <a:off x="1981200" y="2438400"/>
                    <a:ext cx="3962400" cy="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</p:grpSp>
            <p:sp>
              <p:nvSpPr>
                <p:cNvPr id="212" name="TextBox 211"/>
                <p:cNvSpPr txBox="1"/>
                <p:nvPr>
                  <p:custDataLst>
                    <p:tags r:id="rId23"/>
                  </p:custDataLst>
                </p:nvPr>
              </p:nvSpPr>
              <p:spPr>
                <a:xfrm>
                  <a:off x="940959" y="2177534"/>
                  <a:ext cx="2200561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Arial"/>
                    </a:rPr>
                    <a:t>Support DAF grantmaking that meets donors’ priorities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213" name="TextBox 212"/>
                <p:cNvSpPr txBox="1"/>
                <p:nvPr>
                  <p:custDataLst>
                    <p:tags r:id="rId24"/>
                  </p:custDataLst>
                </p:nvPr>
              </p:nvSpPr>
              <p:spPr>
                <a:xfrm>
                  <a:off x="7275100" y="2187952"/>
                  <a:ext cx="2133599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Arial"/>
                    </a:rPr>
                    <a:t>Align DAF grantmaking with priorities identified by the CF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  <p:sp>
            <p:nvSpPr>
              <p:cNvPr id="210" name="TextBox 209"/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-819650" y="3594557"/>
                <a:ext cx="121920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 4</a:t>
                </a:r>
                <a: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   </a:t>
                </a:r>
              </a:p>
            </p:txBody>
          </p:sp>
        </p:grpSp>
        <p:sp>
          <p:nvSpPr>
            <p:cNvPr id="208" name="Oval 207"/>
            <p:cNvSpPr/>
            <p:nvPr>
              <p:custDataLst>
                <p:tags r:id="rId20"/>
              </p:custDataLst>
            </p:nvPr>
          </p:nvSpPr>
          <p:spPr>
            <a:xfrm>
              <a:off x="4195239" y="1066800"/>
              <a:ext cx="692356" cy="533400"/>
            </a:xfrm>
            <a:prstGeom prst="ellipse">
              <a:avLst/>
            </a:prstGeom>
            <a:solidFill>
              <a:srgbClr val="FFFFFF"/>
            </a:solidFill>
            <a:ln w="57150" cap="flat" cmpd="sng" algn="ctr">
              <a:solidFill>
                <a:srgbClr val="0064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17" name="Group 216"/>
          <p:cNvGrpSpPr/>
          <p:nvPr/>
        </p:nvGrpSpPr>
        <p:grpSpPr>
          <a:xfrm>
            <a:off x="-142922" y="2369403"/>
            <a:ext cx="6019800" cy="907197"/>
            <a:chOff x="426425" y="1066800"/>
            <a:chExt cx="7283959" cy="907197"/>
          </a:xfrm>
        </p:grpSpPr>
        <p:grpSp>
          <p:nvGrpSpPr>
            <p:cNvPr id="218" name="Group 217"/>
            <p:cNvGrpSpPr/>
            <p:nvPr>
              <p:custDataLst>
                <p:tags r:id="rId13"/>
              </p:custDataLst>
            </p:nvPr>
          </p:nvGrpSpPr>
          <p:grpSpPr>
            <a:xfrm>
              <a:off x="426425" y="1132582"/>
              <a:ext cx="7283959" cy="841415"/>
              <a:chOff x="-819650" y="3573959"/>
              <a:chExt cx="9694949" cy="841415"/>
            </a:xfrm>
          </p:grpSpPr>
          <p:grpSp>
            <p:nvGrpSpPr>
              <p:cNvPr id="220" name="Group 219"/>
              <p:cNvGrpSpPr/>
              <p:nvPr/>
            </p:nvGrpSpPr>
            <p:grpSpPr>
              <a:xfrm>
                <a:off x="407559" y="3573959"/>
                <a:ext cx="8467740" cy="841415"/>
                <a:chOff x="940959" y="2177534"/>
                <a:chExt cx="8467740" cy="841415"/>
              </a:xfrm>
            </p:grpSpPr>
            <p:grpSp>
              <p:nvGrpSpPr>
                <p:cNvPr id="222" name="Group 221"/>
                <p:cNvGrpSpPr/>
                <p:nvPr>
                  <p:custDataLst>
                    <p:tags r:id="rId16"/>
                  </p:custDataLst>
                </p:nvPr>
              </p:nvGrpSpPr>
              <p:grpSpPr>
                <a:xfrm>
                  <a:off x="3124200" y="2286000"/>
                  <a:ext cx="4191000" cy="152400"/>
                  <a:chOff x="1981200" y="2362200"/>
                  <a:chExt cx="3962400" cy="152400"/>
                </a:xfrm>
              </p:grpSpPr>
              <p:cxnSp>
                <p:nvCxnSpPr>
                  <p:cNvPr id="225" name="Straight Connector 224"/>
                  <p:cNvCxnSpPr/>
                  <p:nvPr/>
                </p:nvCxnSpPr>
                <p:spPr>
                  <a:xfrm>
                    <a:off x="19812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Straight Connector 225"/>
                  <p:cNvCxnSpPr/>
                  <p:nvPr/>
                </p:nvCxnSpPr>
                <p:spPr>
                  <a:xfrm>
                    <a:off x="59436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7" name="Straight Connector 226"/>
                  <p:cNvCxnSpPr/>
                  <p:nvPr/>
                </p:nvCxnSpPr>
                <p:spPr>
                  <a:xfrm>
                    <a:off x="1981200" y="2438400"/>
                    <a:ext cx="3962400" cy="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</p:grpSp>
            <p:sp>
              <p:nvSpPr>
                <p:cNvPr id="223" name="TextBox 222"/>
                <p:cNvSpPr txBox="1"/>
                <p:nvPr>
                  <p:custDataLst>
                    <p:tags r:id="rId17"/>
                  </p:custDataLst>
                </p:nvPr>
              </p:nvSpPr>
              <p:spPr>
                <a:xfrm>
                  <a:off x="940959" y="2177534"/>
                  <a:ext cx="2200561" cy="6463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Arial"/>
                    </a:rPr>
                    <a:t>Position DAFs as a stand-alone offering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224" name="TextBox 223"/>
                <p:cNvSpPr txBox="1"/>
                <p:nvPr>
                  <p:custDataLst>
                    <p:tags r:id="rId18"/>
                  </p:custDataLst>
                </p:nvPr>
              </p:nvSpPr>
              <p:spPr>
                <a:xfrm>
                  <a:off x="7275100" y="2187952"/>
                  <a:ext cx="2133599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Arial"/>
                    </a:rPr>
                    <a:t>Position DAFs as an entry point to grow more flexible assets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  <p:sp>
            <p:nvSpPr>
              <p:cNvPr id="221" name="TextBox 220"/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-819650" y="3594557"/>
                <a:ext cx="121920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 </a:t>
                </a:r>
                <a: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1   </a:t>
                </a:r>
              </a:p>
            </p:txBody>
          </p:sp>
        </p:grpSp>
        <p:sp>
          <p:nvSpPr>
            <p:cNvPr id="219" name="Oval 218"/>
            <p:cNvSpPr/>
            <p:nvPr>
              <p:custDataLst>
                <p:tags r:id="rId14"/>
              </p:custDataLst>
            </p:nvPr>
          </p:nvSpPr>
          <p:spPr>
            <a:xfrm>
              <a:off x="4195239" y="1066800"/>
              <a:ext cx="692356" cy="533400"/>
            </a:xfrm>
            <a:prstGeom prst="ellipse">
              <a:avLst/>
            </a:prstGeom>
            <a:solidFill>
              <a:srgbClr val="FFFFFF"/>
            </a:solidFill>
            <a:ln w="57150" cap="flat" cmpd="sng" algn="ctr">
              <a:solidFill>
                <a:srgbClr val="0064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28" name="Group 227"/>
          <p:cNvGrpSpPr/>
          <p:nvPr>
            <p:custDataLst>
              <p:tags r:id="rId1"/>
            </p:custDataLst>
          </p:nvPr>
        </p:nvGrpSpPr>
        <p:grpSpPr>
          <a:xfrm>
            <a:off x="-152400" y="4993719"/>
            <a:ext cx="6029280" cy="1026081"/>
            <a:chOff x="-819650" y="3573959"/>
            <a:chExt cx="9710215" cy="1026081"/>
          </a:xfrm>
        </p:grpSpPr>
        <p:grpSp>
          <p:nvGrpSpPr>
            <p:cNvPr id="229" name="Group 228"/>
            <p:cNvGrpSpPr/>
            <p:nvPr/>
          </p:nvGrpSpPr>
          <p:grpSpPr>
            <a:xfrm>
              <a:off x="407559" y="3573959"/>
              <a:ext cx="8483006" cy="1026081"/>
              <a:chOff x="940959" y="2177534"/>
              <a:chExt cx="8483006" cy="1026081"/>
            </a:xfrm>
          </p:grpSpPr>
          <p:grpSp>
            <p:nvGrpSpPr>
              <p:cNvPr id="231" name="Group 230"/>
              <p:cNvGrpSpPr/>
              <p:nvPr>
                <p:custDataLst>
                  <p:tags r:id="rId10"/>
                </p:custDataLst>
              </p:nvPr>
            </p:nvGrpSpPr>
            <p:grpSpPr>
              <a:xfrm>
                <a:off x="3124200" y="2286000"/>
                <a:ext cx="4191000" cy="152400"/>
                <a:chOff x="1981200" y="2362200"/>
                <a:chExt cx="3962400" cy="152400"/>
              </a:xfrm>
            </p:grpSpPr>
            <p:cxnSp>
              <p:nvCxnSpPr>
                <p:cNvPr id="234" name="Straight Connector 233"/>
                <p:cNvCxnSpPr/>
                <p:nvPr/>
              </p:nvCxnSpPr>
              <p:spPr>
                <a:xfrm>
                  <a:off x="1981200" y="2362200"/>
                  <a:ext cx="0" cy="15240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rgbClr val="FA9600">
                      <a:shade val="95000"/>
                      <a:satMod val="10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235" name="Straight Connector 234"/>
                <p:cNvCxnSpPr/>
                <p:nvPr/>
              </p:nvCxnSpPr>
              <p:spPr>
                <a:xfrm>
                  <a:off x="5943600" y="2362200"/>
                  <a:ext cx="0" cy="15240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rgbClr val="FA9600">
                      <a:shade val="95000"/>
                      <a:satMod val="10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236" name="Straight Connector 235"/>
                <p:cNvCxnSpPr/>
                <p:nvPr/>
              </p:nvCxnSpPr>
              <p:spPr>
                <a:xfrm>
                  <a:off x="1981200" y="2438400"/>
                  <a:ext cx="3962400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rgbClr val="FA9600">
                      <a:shade val="95000"/>
                      <a:satMod val="105000"/>
                    </a:srgbClr>
                  </a:solidFill>
                  <a:prstDash val="solid"/>
                </a:ln>
                <a:effectLst/>
              </p:spPr>
            </p:cxnSp>
          </p:grpSp>
          <p:sp>
            <p:nvSpPr>
              <p:cNvPr id="232" name="TextBox 231"/>
              <p:cNvSpPr txBox="1"/>
              <p:nvPr>
                <p:custDataLst>
                  <p:tags r:id="rId11"/>
                </p:custDataLst>
              </p:nvPr>
            </p:nvSpPr>
            <p:spPr>
              <a:xfrm>
                <a:off x="940959" y="2177534"/>
                <a:ext cx="2200561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rPr>
                  <a:t>DAFs are a “loss-leader” to bring in other fund types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33" name="TextBox 232"/>
              <p:cNvSpPr txBox="1"/>
              <p:nvPr>
                <p:custDataLst>
                  <p:tags r:id="rId12"/>
                </p:custDataLst>
              </p:nvPr>
            </p:nvSpPr>
            <p:spPr>
              <a:xfrm>
                <a:off x="7077005" y="2187952"/>
                <a:ext cx="2346960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rPr>
                  <a:t>DAFs should generate a </a:t>
                </a:r>
              </a:p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rPr>
                  <a:t>surplus to support other areas of our operations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230" name="TextBox 229"/>
            <p:cNvSpPr txBox="1"/>
            <p:nvPr>
              <p:custDataLst>
                <p:tags r:id="rId9"/>
              </p:custDataLst>
            </p:nvPr>
          </p:nvSpPr>
          <p:spPr>
            <a:xfrm>
              <a:off x="-819650" y="3594557"/>
              <a:ext cx="12192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cs typeface="Calibri" pitchFamily="34" charset="0"/>
                </a:rPr>
                <a:t> </a:t>
              </a:r>
              <a:r>
                <a:rPr kumimoji="0" lang="en-US" sz="2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cs typeface="Calibri" pitchFamily="34" charset="0"/>
                </a:rPr>
                <a:t>6   </a:t>
              </a:r>
            </a:p>
          </p:txBody>
        </p:sp>
      </p:grpSp>
      <p:grpSp>
        <p:nvGrpSpPr>
          <p:cNvPr id="237" name="Group 236"/>
          <p:cNvGrpSpPr/>
          <p:nvPr/>
        </p:nvGrpSpPr>
        <p:grpSpPr>
          <a:xfrm>
            <a:off x="-142922" y="4122003"/>
            <a:ext cx="6019800" cy="907197"/>
            <a:chOff x="426425" y="1066800"/>
            <a:chExt cx="7283959" cy="907197"/>
          </a:xfrm>
        </p:grpSpPr>
        <p:grpSp>
          <p:nvGrpSpPr>
            <p:cNvPr id="238" name="Group 237"/>
            <p:cNvGrpSpPr/>
            <p:nvPr>
              <p:custDataLst>
                <p:tags r:id="rId3"/>
              </p:custDataLst>
            </p:nvPr>
          </p:nvGrpSpPr>
          <p:grpSpPr>
            <a:xfrm>
              <a:off x="426425" y="1132582"/>
              <a:ext cx="7283959" cy="841415"/>
              <a:chOff x="-819650" y="3573959"/>
              <a:chExt cx="9694949" cy="841415"/>
            </a:xfrm>
          </p:grpSpPr>
          <p:grpSp>
            <p:nvGrpSpPr>
              <p:cNvPr id="240" name="Group 239"/>
              <p:cNvGrpSpPr/>
              <p:nvPr/>
            </p:nvGrpSpPr>
            <p:grpSpPr>
              <a:xfrm>
                <a:off x="407559" y="3573959"/>
                <a:ext cx="8467740" cy="841415"/>
                <a:chOff x="940959" y="2177534"/>
                <a:chExt cx="8467740" cy="841415"/>
              </a:xfrm>
            </p:grpSpPr>
            <p:grpSp>
              <p:nvGrpSpPr>
                <p:cNvPr id="242" name="Group 241"/>
                <p:cNvGrpSpPr/>
                <p:nvPr>
                  <p:custDataLst>
                    <p:tags r:id="rId6"/>
                  </p:custDataLst>
                </p:nvPr>
              </p:nvGrpSpPr>
              <p:grpSpPr>
                <a:xfrm>
                  <a:off x="3124200" y="2286000"/>
                  <a:ext cx="4191000" cy="152400"/>
                  <a:chOff x="1981200" y="2362200"/>
                  <a:chExt cx="3962400" cy="152400"/>
                </a:xfrm>
              </p:grpSpPr>
              <p:cxnSp>
                <p:nvCxnSpPr>
                  <p:cNvPr id="245" name="Straight Connector 244"/>
                  <p:cNvCxnSpPr/>
                  <p:nvPr/>
                </p:nvCxnSpPr>
                <p:spPr>
                  <a:xfrm>
                    <a:off x="19812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6" name="Straight Connector 245"/>
                  <p:cNvCxnSpPr/>
                  <p:nvPr/>
                </p:nvCxnSpPr>
                <p:spPr>
                  <a:xfrm>
                    <a:off x="59436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7" name="Straight Connector 246"/>
                  <p:cNvCxnSpPr/>
                  <p:nvPr/>
                </p:nvCxnSpPr>
                <p:spPr>
                  <a:xfrm>
                    <a:off x="1981200" y="2438400"/>
                    <a:ext cx="3962400" cy="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</p:grpSp>
            <p:sp>
              <p:nvSpPr>
                <p:cNvPr id="243" name="TextBox 242"/>
                <p:cNvSpPr txBox="1"/>
                <p:nvPr>
                  <p:custDataLst>
                    <p:tags r:id="rId7"/>
                  </p:custDataLst>
                </p:nvPr>
              </p:nvSpPr>
              <p:spPr>
                <a:xfrm>
                  <a:off x="940959" y="2177534"/>
                  <a:ext cx="2200561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Arial"/>
                    </a:rPr>
                    <a:t>Promote grantmaking to organizations anywhere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244" name="TextBox 243"/>
                <p:cNvSpPr txBox="1"/>
                <p:nvPr>
                  <p:custDataLst>
                    <p:tags r:id="rId8"/>
                  </p:custDataLst>
                </p:nvPr>
              </p:nvSpPr>
              <p:spPr>
                <a:xfrm>
                  <a:off x="7275100" y="2187952"/>
                  <a:ext cx="2133599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Arial"/>
                    </a:rPr>
                    <a:t>Promote grantmaking to local organizations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  <p:sp>
            <p:nvSpPr>
              <p:cNvPr id="241" name="TextBox 240"/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-819650" y="3594557"/>
                <a:ext cx="121920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 </a:t>
                </a:r>
                <a: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5   </a:t>
                </a:r>
              </a:p>
            </p:txBody>
          </p:sp>
        </p:grpSp>
        <p:sp>
          <p:nvSpPr>
            <p:cNvPr id="239" name="Oval 238"/>
            <p:cNvSpPr/>
            <p:nvPr>
              <p:custDataLst>
                <p:tags r:id="rId4"/>
              </p:custDataLst>
            </p:nvPr>
          </p:nvSpPr>
          <p:spPr>
            <a:xfrm>
              <a:off x="3595085" y="1066800"/>
              <a:ext cx="692356" cy="533400"/>
            </a:xfrm>
            <a:prstGeom prst="ellipse">
              <a:avLst/>
            </a:prstGeom>
            <a:solidFill>
              <a:srgbClr val="FFFFFF"/>
            </a:solidFill>
            <a:ln w="57150" cap="flat" cmpd="sng" algn="ctr">
              <a:solidFill>
                <a:srgbClr val="0064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48" name="TextBox 247"/>
          <p:cNvSpPr txBox="1"/>
          <p:nvPr/>
        </p:nvSpPr>
        <p:spPr>
          <a:xfrm>
            <a:off x="3038406" y="2513625"/>
            <a:ext cx="4667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64AD"/>
                </a:solidFill>
                <a:effectLst/>
                <a:uLnTx/>
                <a:uFillTx/>
                <a:latin typeface="Arial"/>
              </a:rPr>
              <a:t>2012</a:t>
            </a:r>
          </a:p>
        </p:txBody>
      </p:sp>
      <p:sp>
        <p:nvSpPr>
          <p:cNvPr id="249" name="Oval 248"/>
          <p:cNvSpPr/>
          <p:nvPr>
            <p:custDataLst>
              <p:tags r:id="rId2"/>
            </p:custDataLst>
          </p:nvPr>
        </p:nvSpPr>
        <p:spPr>
          <a:xfrm>
            <a:off x="4038600" y="4953000"/>
            <a:ext cx="572195" cy="533400"/>
          </a:xfrm>
          <a:prstGeom prst="ellipse">
            <a:avLst/>
          </a:prstGeom>
          <a:solidFill>
            <a:srgbClr val="FFFFFF"/>
          </a:solidFill>
          <a:ln w="57150" cap="flat" cmpd="sng" algn="ctr">
            <a:solidFill>
              <a:srgbClr val="0064A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0" name="TextBox 249"/>
          <p:cNvSpPr txBox="1"/>
          <p:nvPr/>
        </p:nvSpPr>
        <p:spPr>
          <a:xfrm>
            <a:off x="4071442" y="5087779"/>
            <a:ext cx="42435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64AD"/>
                </a:solidFill>
                <a:effectLst/>
                <a:uLnTx/>
                <a:uFillTx/>
                <a:latin typeface="Arial"/>
              </a:rPr>
              <a:t>2012</a:t>
            </a:r>
          </a:p>
        </p:txBody>
      </p:sp>
      <p:sp>
        <p:nvSpPr>
          <p:cNvPr id="251" name="TextBox 250"/>
          <p:cNvSpPr txBox="1"/>
          <p:nvPr/>
        </p:nvSpPr>
        <p:spPr>
          <a:xfrm>
            <a:off x="2514600" y="4266312"/>
            <a:ext cx="42435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64AD"/>
                </a:solidFill>
                <a:effectLst/>
                <a:uLnTx/>
                <a:uFillTx/>
                <a:latin typeface="Arial"/>
              </a:rPr>
              <a:t>2012</a:t>
            </a:r>
          </a:p>
        </p:txBody>
      </p:sp>
      <p:sp>
        <p:nvSpPr>
          <p:cNvPr id="252" name="TextBox 251"/>
          <p:cNvSpPr txBox="1"/>
          <p:nvPr/>
        </p:nvSpPr>
        <p:spPr>
          <a:xfrm>
            <a:off x="3028928" y="3352800"/>
            <a:ext cx="4667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64AD"/>
                </a:solidFill>
                <a:effectLst/>
                <a:uLnTx/>
                <a:uFillTx/>
                <a:latin typeface="Arial"/>
              </a:rPr>
              <a:t>2012</a:t>
            </a:r>
          </a:p>
        </p:txBody>
      </p:sp>
    </p:spTree>
    <p:extLst>
      <p:ext uri="{BB962C8B-B14F-4D97-AF65-F5344CB8AC3E}">
        <p14:creationId xmlns:p14="http://schemas.microsoft.com/office/powerpoint/2010/main" val="3555618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“LEADER-TO-LEADER” COMMUNITY FOUNDATION</a:t>
            </a:r>
            <a:endParaRPr lang="en-US" sz="24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89505" y="6370638"/>
            <a:ext cx="7800975" cy="487362"/>
          </a:xfrm>
        </p:spPr>
        <p:txBody>
          <a:bodyPr/>
          <a:lstStyle/>
          <a:p>
            <a:r>
              <a:rPr lang="en-US" dirty="0" smtClean="0"/>
              <a:t>“Do More than Grow”</a:t>
            </a:r>
            <a:endParaRPr lang="en-US" dirty="0"/>
          </a:p>
        </p:txBody>
      </p:sp>
      <p:pic>
        <p:nvPicPr>
          <p:cNvPr id="8" name="Picture 7" descr="seed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63664" y="142571"/>
            <a:ext cx="4006472" cy="7096429"/>
          </a:xfrm>
          <a:prstGeom prst="rect">
            <a:avLst/>
          </a:prstGeom>
        </p:spPr>
      </p:pic>
      <p:sp>
        <p:nvSpPr>
          <p:cNvPr id="9" name="Text Box 16"/>
          <p:cNvSpPr txBox="1">
            <a:spLocks noChangeArrowheads="1"/>
          </p:cNvSpPr>
          <p:nvPr/>
        </p:nvSpPr>
        <p:spPr bwMode="auto">
          <a:xfrm>
            <a:off x="438150" y="1467226"/>
            <a:ext cx="7943850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7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kern="0" dirty="0" smtClean="0">
                <a:solidFill>
                  <a:srgbClr val="336699"/>
                </a:solidFill>
                <a:effectLst/>
              </a:rPr>
              <a:t>cares </a:t>
            </a:r>
            <a:r>
              <a:rPr lang="en-US" sz="2800" kern="0" dirty="0">
                <a:solidFill>
                  <a:srgbClr val="336699"/>
                </a:solidFill>
                <a:effectLst/>
              </a:rPr>
              <a:t>about mobilizing resources and engaging with donors to address priority local needs</a:t>
            </a: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srgbClr val="336699"/>
              </a:solidFill>
              <a:effectLst/>
              <a:uLnTx/>
              <a:uFillTx/>
            </a:endParaRPr>
          </a:p>
        </p:txBody>
      </p:sp>
      <p:sp>
        <p:nvSpPr>
          <p:cNvPr id="10" name="Text Box 13"/>
          <p:cNvSpPr txBox="1">
            <a:spLocks noChangeArrowheads="1"/>
          </p:cNvSpPr>
          <p:nvPr/>
        </p:nvSpPr>
        <p:spPr bwMode="auto">
          <a:xfrm>
            <a:off x="3214616" y="2667000"/>
            <a:ext cx="5395984" cy="34317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228600" indent="-165100" algn="l">
              <a:defRPr>
                <a:solidFill>
                  <a:schemeClr val="tx1"/>
                </a:solidFill>
                <a:latin typeface="Arial" charset="0"/>
              </a:defRPr>
            </a:lvl1pPr>
            <a:lvl2pPr algn="l">
              <a:defRPr>
                <a:solidFill>
                  <a:schemeClr val="tx1"/>
                </a:solidFill>
                <a:latin typeface="Arial" charset="0"/>
              </a:defRPr>
            </a:lvl2pPr>
            <a:lvl3pPr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63500" lvl="0" indent="0" algn="ctr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1800" b="1" kern="0" dirty="0" smtClean="0">
                <a:solidFill>
                  <a:srgbClr val="595959"/>
                </a:solidFill>
                <a:effectLst/>
              </a:rPr>
              <a:t>Our Message: </a:t>
            </a:r>
          </a:p>
          <a:p>
            <a:pPr marL="63500" lvl="0" indent="0" algn="ctr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0" dirty="0">
                <a:solidFill>
                  <a:srgbClr val="595959"/>
                </a:solidFill>
                <a:effectLst/>
              </a:rPr>
              <a:t>“Leadership and local impact”</a:t>
            </a:r>
          </a:p>
          <a:p>
            <a:pPr marL="63500" lvl="0" indent="0" algn="ctr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1800" b="1" kern="0" dirty="0" smtClean="0">
                <a:solidFill>
                  <a:srgbClr val="595959"/>
                </a:solidFill>
                <a:effectLst/>
              </a:rPr>
              <a:t>Our Approach: </a:t>
            </a:r>
          </a:p>
          <a:p>
            <a:pPr marL="63500" indent="0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0" dirty="0">
                <a:solidFill>
                  <a:srgbClr val="595959"/>
                </a:solidFill>
                <a:effectLst/>
              </a:rPr>
              <a:t>Focus on developing ideas that matter in our community, to our board, and to the donors engaged with </a:t>
            </a:r>
            <a:r>
              <a:rPr lang="en-US" sz="1800" kern="0" dirty="0" smtClean="0">
                <a:solidFill>
                  <a:srgbClr val="595959"/>
                </a:solidFill>
                <a:effectLst/>
              </a:rPr>
              <a:t>us. </a:t>
            </a:r>
            <a:r>
              <a:rPr lang="en-US" sz="1800" kern="0" dirty="0">
                <a:solidFill>
                  <a:srgbClr val="595959"/>
                </a:solidFill>
                <a:effectLst/>
              </a:rPr>
              <a:t>I</a:t>
            </a:r>
            <a:r>
              <a:rPr lang="en-US" sz="1800" kern="0" dirty="0" smtClean="0">
                <a:solidFill>
                  <a:srgbClr val="595959"/>
                </a:solidFill>
                <a:effectLst/>
              </a:rPr>
              <a:t>nvest </a:t>
            </a:r>
            <a:r>
              <a:rPr lang="en-US" sz="1800" kern="0" dirty="0">
                <a:solidFill>
                  <a:srgbClr val="595959"/>
                </a:solidFill>
                <a:effectLst/>
              </a:rPr>
              <a:t>more than others in maintaining donor relationships and alignment across all of our staff, no matter what the </a:t>
            </a:r>
            <a:r>
              <a:rPr lang="en-US" sz="1800" kern="0" dirty="0" smtClean="0">
                <a:solidFill>
                  <a:srgbClr val="595959"/>
                </a:solidFill>
                <a:effectLst/>
              </a:rPr>
              <a:t>function</a:t>
            </a:r>
            <a:endParaRPr lang="en-US" sz="1800" kern="0" dirty="0">
              <a:solidFill>
                <a:srgbClr val="595959"/>
              </a:solidFill>
              <a:effectLst/>
            </a:endParaRPr>
          </a:p>
          <a:p>
            <a:pPr marL="63500" indent="0" algn="ctr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1800" b="1" kern="0" dirty="0">
                <a:solidFill>
                  <a:srgbClr val="595959"/>
                </a:solidFill>
                <a:effectLst/>
              </a:rPr>
              <a:t>Question We Face: </a:t>
            </a:r>
          </a:p>
          <a:p>
            <a:pPr marL="63500" lvl="0" indent="0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0" dirty="0" smtClean="0">
                <a:solidFill>
                  <a:srgbClr val="595959"/>
                </a:solidFill>
                <a:effectLst/>
              </a:rPr>
              <a:t>How </a:t>
            </a:r>
            <a:r>
              <a:rPr lang="en-US" sz="1800" kern="0" dirty="0">
                <a:solidFill>
                  <a:srgbClr val="595959"/>
                </a:solidFill>
                <a:effectLst/>
              </a:rPr>
              <a:t>do we pursue our growing ambitions with very active grantmaking but lower asset growth rates?</a:t>
            </a:r>
          </a:p>
        </p:txBody>
      </p:sp>
    </p:spTree>
    <p:extLst>
      <p:ext uri="{BB962C8B-B14F-4D97-AF65-F5344CB8AC3E}">
        <p14:creationId xmlns:p14="http://schemas.microsoft.com/office/powerpoint/2010/main" val="14628278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“LEADER-TO-LEADER” COMMUNITY FOUNDATION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89505" y="6370638"/>
            <a:ext cx="7800975" cy="487362"/>
          </a:xfrm>
        </p:spPr>
        <p:txBody>
          <a:bodyPr/>
          <a:lstStyle/>
          <a:p>
            <a:r>
              <a:rPr lang="en-US" dirty="0" smtClean="0"/>
              <a:t>“Do More than Grow”</a:t>
            </a:r>
            <a:endParaRPr lang="en-US" dirty="0"/>
          </a:p>
        </p:txBody>
      </p:sp>
      <p:grpSp>
        <p:nvGrpSpPr>
          <p:cNvPr id="426" name="Group 425"/>
          <p:cNvGrpSpPr/>
          <p:nvPr/>
        </p:nvGrpSpPr>
        <p:grpSpPr>
          <a:xfrm>
            <a:off x="5715000" y="2100590"/>
            <a:ext cx="2019300" cy="708630"/>
            <a:chOff x="5791200" y="2100590"/>
            <a:chExt cx="2019300" cy="708630"/>
          </a:xfrm>
        </p:grpSpPr>
        <p:sp>
          <p:nvSpPr>
            <p:cNvPr id="427" name="Rectangle 426"/>
            <p:cNvSpPr/>
            <p:nvPr/>
          </p:nvSpPr>
          <p:spPr>
            <a:xfrm>
              <a:off x="5867400" y="2391251"/>
              <a:ext cx="364834" cy="385465"/>
            </a:xfrm>
            <a:prstGeom prst="rect">
              <a:avLst/>
            </a:prstGeom>
            <a:solidFill>
              <a:srgbClr val="FA96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428" name="TextBox 427"/>
            <p:cNvSpPr txBox="1"/>
            <p:nvPr/>
          </p:nvSpPr>
          <p:spPr>
            <a:xfrm>
              <a:off x="5791200" y="2100590"/>
              <a:ext cx="20193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Pledge planned gifts</a:t>
              </a:r>
            </a:p>
          </p:txBody>
        </p:sp>
        <p:sp>
          <p:nvSpPr>
            <p:cNvPr id="429" name="TextBox 428"/>
            <p:cNvSpPr txBox="1"/>
            <p:nvPr/>
          </p:nvSpPr>
          <p:spPr>
            <a:xfrm>
              <a:off x="6248400" y="2286000"/>
              <a:ext cx="15240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15% vs </a:t>
              </a:r>
              <a:b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</a:b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13% average </a:t>
              </a:r>
            </a:p>
          </p:txBody>
        </p:sp>
      </p:grpSp>
      <p:sp>
        <p:nvSpPr>
          <p:cNvPr id="430" name="Rectangle 429"/>
          <p:cNvSpPr/>
          <p:nvPr/>
        </p:nvSpPr>
        <p:spPr>
          <a:xfrm>
            <a:off x="5791200" y="3348335"/>
            <a:ext cx="1757081" cy="385465"/>
          </a:xfrm>
          <a:prstGeom prst="rect">
            <a:avLst/>
          </a:prstGeom>
          <a:solidFill>
            <a:srgbClr val="FA96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31" name="TextBox 430"/>
          <p:cNvSpPr txBox="1"/>
          <p:nvPr/>
        </p:nvSpPr>
        <p:spPr>
          <a:xfrm>
            <a:off x="5715000" y="3057674"/>
            <a:ext cx="20193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ontribute to flexible funds</a:t>
            </a:r>
          </a:p>
        </p:txBody>
      </p:sp>
      <p:sp>
        <p:nvSpPr>
          <p:cNvPr id="432" name="TextBox 431"/>
          <p:cNvSpPr txBox="1"/>
          <p:nvPr/>
        </p:nvSpPr>
        <p:spPr>
          <a:xfrm>
            <a:off x="7620000" y="3276600"/>
            <a:ext cx="1295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71% vs </a:t>
            </a:r>
            <a:b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21% average</a:t>
            </a:r>
          </a:p>
        </p:txBody>
      </p:sp>
      <p:sp>
        <p:nvSpPr>
          <p:cNvPr id="433" name="Rectangle 432"/>
          <p:cNvSpPr/>
          <p:nvPr/>
        </p:nvSpPr>
        <p:spPr>
          <a:xfrm>
            <a:off x="5791201" y="4262735"/>
            <a:ext cx="2133599" cy="385465"/>
          </a:xfrm>
          <a:prstGeom prst="rect">
            <a:avLst/>
          </a:prstGeom>
          <a:solidFill>
            <a:srgbClr val="FA96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34" name="TextBox 433"/>
          <p:cNvSpPr txBox="1"/>
          <p:nvPr/>
        </p:nvSpPr>
        <p:spPr>
          <a:xfrm>
            <a:off x="5715000" y="3972074"/>
            <a:ext cx="20193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Local grant dollars</a:t>
            </a:r>
          </a:p>
        </p:txBody>
      </p:sp>
      <p:sp>
        <p:nvSpPr>
          <p:cNvPr id="435" name="TextBox 434"/>
          <p:cNvSpPr txBox="1"/>
          <p:nvPr/>
        </p:nvSpPr>
        <p:spPr>
          <a:xfrm>
            <a:off x="7924800" y="4191000"/>
            <a:ext cx="1447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87% vs </a:t>
            </a:r>
            <a:b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</a:b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63% average</a:t>
            </a:r>
          </a:p>
        </p:txBody>
      </p:sp>
      <p:sp>
        <p:nvSpPr>
          <p:cNvPr id="436" name="TextBox 435"/>
          <p:cNvSpPr txBox="1"/>
          <p:nvPr/>
        </p:nvSpPr>
        <p:spPr>
          <a:xfrm>
            <a:off x="2112104" y="1534180"/>
            <a:ext cx="5203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Leader-to-Leader: High Effective Fees and High Alignment </a:t>
            </a:r>
          </a:p>
        </p:txBody>
      </p:sp>
      <p:sp>
        <p:nvSpPr>
          <p:cNvPr id="437" name="TextBox 436"/>
          <p:cNvSpPr txBox="1"/>
          <p:nvPr/>
        </p:nvSpPr>
        <p:spPr>
          <a:xfrm>
            <a:off x="5740820" y="4876800"/>
            <a:ext cx="28697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A9600"/>
                </a:solidFill>
                <a:effectLst/>
                <a:uLnTx/>
                <a:uFillTx/>
              </a:rPr>
              <a:t>Staff Intensity: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elatively 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high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A9600"/>
                </a:solidFill>
                <a:effectLst/>
                <a:uLnTx/>
                <a:uFillTx/>
              </a:rPr>
              <a:t> </a:t>
            </a:r>
            <a:b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A9600"/>
                </a:solidFill>
                <a:effectLst/>
                <a:uLnTx/>
                <a:uFillTx/>
              </a:rPr>
            </a:b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FA96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A9600"/>
                </a:solidFill>
                <a:effectLst/>
                <a:uLnTx/>
                <a:uFillTx/>
              </a:rPr>
              <a:t>Effective Fee: 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elatively high</a:t>
            </a:r>
          </a:p>
        </p:txBody>
      </p:sp>
      <p:grpSp>
        <p:nvGrpSpPr>
          <p:cNvPr id="438" name="Group 437"/>
          <p:cNvGrpSpPr/>
          <p:nvPr/>
        </p:nvGrpSpPr>
        <p:grpSpPr>
          <a:xfrm>
            <a:off x="-304800" y="2902803"/>
            <a:ext cx="6019800" cy="907197"/>
            <a:chOff x="426425" y="1066800"/>
            <a:chExt cx="7283959" cy="907197"/>
          </a:xfrm>
        </p:grpSpPr>
        <p:grpSp>
          <p:nvGrpSpPr>
            <p:cNvPr id="439" name="Group 438"/>
            <p:cNvGrpSpPr/>
            <p:nvPr>
              <p:custDataLst>
                <p:tags r:id="rId19"/>
              </p:custDataLst>
            </p:nvPr>
          </p:nvGrpSpPr>
          <p:grpSpPr>
            <a:xfrm>
              <a:off x="426425" y="1132582"/>
              <a:ext cx="7283959" cy="841415"/>
              <a:chOff x="-819650" y="3573959"/>
              <a:chExt cx="9694949" cy="841415"/>
            </a:xfrm>
          </p:grpSpPr>
          <p:grpSp>
            <p:nvGrpSpPr>
              <p:cNvPr id="441" name="Group 440"/>
              <p:cNvGrpSpPr/>
              <p:nvPr/>
            </p:nvGrpSpPr>
            <p:grpSpPr>
              <a:xfrm>
                <a:off x="407559" y="3573959"/>
                <a:ext cx="8467740" cy="841415"/>
                <a:chOff x="940959" y="2177534"/>
                <a:chExt cx="8467740" cy="841415"/>
              </a:xfrm>
            </p:grpSpPr>
            <p:grpSp>
              <p:nvGrpSpPr>
                <p:cNvPr id="443" name="Group 442"/>
                <p:cNvGrpSpPr/>
                <p:nvPr>
                  <p:custDataLst>
                    <p:tags r:id="rId22"/>
                  </p:custDataLst>
                </p:nvPr>
              </p:nvGrpSpPr>
              <p:grpSpPr>
                <a:xfrm>
                  <a:off x="3124200" y="2286000"/>
                  <a:ext cx="4191000" cy="152400"/>
                  <a:chOff x="1981200" y="2362200"/>
                  <a:chExt cx="3962400" cy="152400"/>
                </a:xfrm>
              </p:grpSpPr>
              <p:cxnSp>
                <p:nvCxnSpPr>
                  <p:cNvPr id="446" name="Straight Connector 445"/>
                  <p:cNvCxnSpPr/>
                  <p:nvPr/>
                </p:nvCxnSpPr>
                <p:spPr>
                  <a:xfrm>
                    <a:off x="19812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447" name="Straight Connector 446"/>
                  <p:cNvCxnSpPr/>
                  <p:nvPr/>
                </p:nvCxnSpPr>
                <p:spPr>
                  <a:xfrm>
                    <a:off x="59436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448" name="Straight Connector 447"/>
                  <p:cNvCxnSpPr/>
                  <p:nvPr/>
                </p:nvCxnSpPr>
                <p:spPr>
                  <a:xfrm>
                    <a:off x="1981200" y="2438400"/>
                    <a:ext cx="3962400" cy="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</p:grpSp>
            <p:sp>
              <p:nvSpPr>
                <p:cNvPr id="444" name="TextBox 443"/>
                <p:cNvSpPr txBox="1"/>
                <p:nvPr>
                  <p:custDataLst>
                    <p:tags r:id="rId23"/>
                  </p:custDataLst>
                </p:nvPr>
              </p:nvSpPr>
              <p:spPr>
                <a:xfrm>
                  <a:off x="940959" y="2177534"/>
                  <a:ext cx="2200561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rPr>
                    <a:t>Support DAF grantmaking that meets donors’ priorities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5" name="TextBox 444"/>
                <p:cNvSpPr txBox="1"/>
                <p:nvPr>
                  <p:custDataLst>
                    <p:tags r:id="rId24"/>
                  </p:custDataLst>
                </p:nvPr>
              </p:nvSpPr>
              <p:spPr>
                <a:xfrm>
                  <a:off x="7275100" y="2187952"/>
                  <a:ext cx="2133599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rPr>
                    <a:t>Align DAF grantmaking with priorities identified by the CF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442" name="TextBox 441"/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-819650" y="3594557"/>
                <a:ext cx="121920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 4</a:t>
                </a:r>
                <a: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   </a:t>
                </a:r>
              </a:p>
            </p:txBody>
          </p:sp>
        </p:grpSp>
        <p:sp>
          <p:nvSpPr>
            <p:cNvPr id="440" name="Oval 439"/>
            <p:cNvSpPr/>
            <p:nvPr>
              <p:custDataLst>
                <p:tags r:id="rId20"/>
              </p:custDataLst>
            </p:nvPr>
          </p:nvSpPr>
          <p:spPr>
            <a:xfrm>
              <a:off x="4897382" y="1066800"/>
              <a:ext cx="692356" cy="533400"/>
            </a:xfrm>
            <a:prstGeom prst="ellipse">
              <a:avLst/>
            </a:prstGeom>
            <a:solidFill>
              <a:srgbClr val="FFFFFF"/>
            </a:solidFill>
            <a:ln w="57150" cap="flat" cmpd="sng" algn="ctr">
              <a:solidFill>
                <a:srgbClr val="0064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49" name="Group 448"/>
          <p:cNvGrpSpPr/>
          <p:nvPr/>
        </p:nvGrpSpPr>
        <p:grpSpPr>
          <a:xfrm>
            <a:off x="-295322" y="2064603"/>
            <a:ext cx="6019800" cy="907197"/>
            <a:chOff x="426425" y="1066800"/>
            <a:chExt cx="7283959" cy="907197"/>
          </a:xfrm>
        </p:grpSpPr>
        <p:grpSp>
          <p:nvGrpSpPr>
            <p:cNvPr id="450" name="Group 449"/>
            <p:cNvGrpSpPr/>
            <p:nvPr>
              <p:custDataLst>
                <p:tags r:id="rId13"/>
              </p:custDataLst>
            </p:nvPr>
          </p:nvGrpSpPr>
          <p:grpSpPr>
            <a:xfrm>
              <a:off x="426425" y="1132582"/>
              <a:ext cx="7283959" cy="841415"/>
              <a:chOff x="-819650" y="3573959"/>
              <a:chExt cx="9694949" cy="841415"/>
            </a:xfrm>
          </p:grpSpPr>
          <p:grpSp>
            <p:nvGrpSpPr>
              <p:cNvPr id="452" name="Group 451"/>
              <p:cNvGrpSpPr/>
              <p:nvPr/>
            </p:nvGrpSpPr>
            <p:grpSpPr>
              <a:xfrm>
                <a:off x="407559" y="3573959"/>
                <a:ext cx="8467740" cy="841415"/>
                <a:chOff x="940959" y="2177534"/>
                <a:chExt cx="8467740" cy="841415"/>
              </a:xfrm>
            </p:grpSpPr>
            <p:grpSp>
              <p:nvGrpSpPr>
                <p:cNvPr id="454" name="Group 453"/>
                <p:cNvGrpSpPr/>
                <p:nvPr>
                  <p:custDataLst>
                    <p:tags r:id="rId16"/>
                  </p:custDataLst>
                </p:nvPr>
              </p:nvGrpSpPr>
              <p:grpSpPr>
                <a:xfrm>
                  <a:off x="3124200" y="2286000"/>
                  <a:ext cx="4191000" cy="152400"/>
                  <a:chOff x="1981200" y="2362200"/>
                  <a:chExt cx="3962400" cy="152400"/>
                </a:xfrm>
              </p:grpSpPr>
              <p:cxnSp>
                <p:nvCxnSpPr>
                  <p:cNvPr id="457" name="Straight Connector 456"/>
                  <p:cNvCxnSpPr/>
                  <p:nvPr/>
                </p:nvCxnSpPr>
                <p:spPr>
                  <a:xfrm>
                    <a:off x="19812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458" name="Straight Connector 457"/>
                  <p:cNvCxnSpPr/>
                  <p:nvPr/>
                </p:nvCxnSpPr>
                <p:spPr>
                  <a:xfrm>
                    <a:off x="59436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459" name="Straight Connector 458"/>
                  <p:cNvCxnSpPr/>
                  <p:nvPr/>
                </p:nvCxnSpPr>
                <p:spPr>
                  <a:xfrm>
                    <a:off x="1981200" y="2438400"/>
                    <a:ext cx="3962400" cy="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</p:grpSp>
            <p:sp>
              <p:nvSpPr>
                <p:cNvPr id="455" name="TextBox 454"/>
                <p:cNvSpPr txBox="1"/>
                <p:nvPr>
                  <p:custDataLst>
                    <p:tags r:id="rId17"/>
                  </p:custDataLst>
                </p:nvPr>
              </p:nvSpPr>
              <p:spPr>
                <a:xfrm>
                  <a:off x="940959" y="2177534"/>
                  <a:ext cx="2200561" cy="6463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rPr>
                    <a:t>Position DAFs as a stand-alone offering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6" name="TextBox 455"/>
                <p:cNvSpPr txBox="1"/>
                <p:nvPr>
                  <p:custDataLst>
                    <p:tags r:id="rId18"/>
                  </p:custDataLst>
                </p:nvPr>
              </p:nvSpPr>
              <p:spPr>
                <a:xfrm>
                  <a:off x="7275100" y="2187952"/>
                  <a:ext cx="2133599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rPr>
                    <a:t>Position DAFs as an entry point to grow more flexible assets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453" name="TextBox 452"/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-819650" y="3594557"/>
                <a:ext cx="121920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 </a:t>
                </a:r>
                <a: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1   </a:t>
                </a:r>
              </a:p>
            </p:txBody>
          </p:sp>
        </p:grpSp>
        <p:sp>
          <p:nvSpPr>
            <p:cNvPr id="451" name="Oval 450"/>
            <p:cNvSpPr/>
            <p:nvPr>
              <p:custDataLst>
                <p:tags r:id="rId14"/>
              </p:custDataLst>
            </p:nvPr>
          </p:nvSpPr>
          <p:spPr>
            <a:xfrm>
              <a:off x="4840653" y="1066800"/>
              <a:ext cx="692356" cy="533400"/>
            </a:xfrm>
            <a:prstGeom prst="ellipse">
              <a:avLst/>
            </a:prstGeom>
            <a:solidFill>
              <a:srgbClr val="FFFFFF"/>
            </a:solidFill>
            <a:ln w="57150" cap="flat" cmpd="sng" algn="ctr">
              <a:solidFill>
                <a:srgbClr val="0064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60" name="Group 459"/>
          <p:cNvGrpSpPr/>
          <p:nvPr>
            <p:custDataLst>
              <p:tags r:id="rId1"/>
            </p:custDataLst>
          </p:nvPr>
        </p:nvGrpSpPr>
        <p:grpSpPr>
          <a:xfrm>
            <a:off x="-304800" y="4688919"/>
            <a:ext cx="6029280" cy="1026081"/>
            <a:chOff x="-819650" y="3573959"/>
            <a:chExt cx="9710215" cy="1026081"/>
          </a:xfrm>
        </p:grpSpPr>
        <p:grpSp>
          <p:nvGrpSpPr>
            <p:cNvPr id="461" name="Group 460"/>
            <p:cNvGrpSpPr/>
            <p:nvPr/>
          </p:nvGrpSpPr>
          <p:grpSpPr>
            <a:xfrm>
              <a:off x="407559" y="3573959"/>
              <a:ext cx="8483006" cy="1026081"/>
              <a:chOff x="940959" y="2177534"/>
              <a:chExt cx="8483006" cy="1026081"/>
            </a:xfrm>
          </p:grpSpPr>
          <p:grpSp>
            <p:nvGrpSpPr>
              <p:cNvPr id="463" name="Group 462"/>
              <p:cNvGrpSpPr/>
              <p:nvPr>
                <p:custDataLst>
                  <p:tags r:id="rId10"/>
                </p:custDataLst>
              </p:nvPr>
            </p:nvGrpSpPr>
            <p:grpSpPr>
              <a:xfrm>
                <a:off x="3124200" y="2286000"/>
                <a:ext cx="4191000" cy="152400"/>
                <a:chOff x="1981200" y="2362200"/>
                <a:chExt cx="3962400" cy="152400"/>
              </a:xfrm>
            </p:grpSpPr>
            <p:cxnSp>
              <p:nvCxnSpPr>
                <p:cNvPr id="466" name="Straight Connector 465"/>
                <p:cNvCxnSpPr/>
                <p:nvPr/>
              </p:nvCxnSpPr>
              <p:spPr>
                <a:xfrm>
                  <a:off x="1981200" y="2362200"/>
                  <a:ext cx="0" cy="15240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rgbClr val="FA9600">
                      <a:shade val="95000"/>
                      <a:satMod val="10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467" name="Straight Connector 466"/>
                <p:cNvCxnSpPr/>
                <p:nvPr/>
              </p:nvCxnSpPr>
              <p:spPr>
                <a:xfrm>
                  <a:off x="5943600" y="2362200"/>
                  <a:ext cx="0" cy="15240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rgbClr val="FA9600">
                      <a:shade val="95000"/>
                      <a:satMod val="10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468" name="Straight Connector 467"/>
                <p:cNvCxnSpPr/>
                <p:nvPr/>
              </p:nvCxnSpPr>
              <p:spPr>
                <a:xfrm>
                  <a:off x="1981200" y="2438400"/>
                  <a:ext cx="3962400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rgbClr val="FA9600">
                      <a:shade val="95000"/>
                      <a:satMod val="105000"/>
                    </a:srgbClr>
                  </a:solidFill>
                  <a:prstDash val="solid"/>
                </a:ln>
                <a:effectLst/>
              </p:spPr>
            </p:cxnSp>
          </p:grpSp>
          <p:sp>
            <p:nvSpPr>
              <p:cNvPr id="464" name="TextBox 463"/>
              <p:cNvSpPr txBox="1"/>
              <p:nvPr>
                <p:custDataLst>
                  <p:tags r:id="rId11"/>
                </p:custDataLst>
              </p:nvPr>
            </p:nvSpPr>
            <p:spPr>
              <a:xfrm>
                <a:off x="940959" y="2177534"/>
                <a:ext cx="2200561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DAFs are a “loss-leader” to bring in other fund types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5" name="TextBox 464"/>
              <p:cNvSpPr txBox="1"/>
              <p:nvPr>
                <p:custDataLst>
                  <p:tags r:id="rId12"/>
                </p:custDataLst>
              </p:nvPr>
            </p:nvSpPr>
            <p:spPr>
              <a:xfrm>
                <a:off x="7077005" y="2187952"/>
                <a:ext cx="2346960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DAFs should generate a </a:t>
                </a:r>
              </a:p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surplus to support other areas of our operations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62" name="TextBox 461"/>
            <p:cNvSpPr txBox="1"/>
            <p:nvPr>
              <p:custDataLst>
                <p:tags r:id="rId9"/>
              </p:custDataLst>
            </p:nvPr>
          </p:nvSpPr>
          <p:spPr>
            <a:xfrm>
              <a:off x="-819650" y="3594557"/>
              <a:ext cx="12192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cs typeface="Calibri" pitchFamily="34" charset="0"/>
                </a:rPr>
                <a:t> </a:t>
              </a:r>
              <a:r>
                <a:rPr kumimoji="0" lang="en-US" sz="2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cs typeface="Calibri" pitchFamily="34" charset="0"/>
                </a:rPr>
                <a:t>6   </a:t>
              </a:r>
            </a:p>
          </p:txBody>
        </p:sp>
      </p:grpSp>
      <p:grpSp>
        <p:nvGrpSpPr>
          <p:cNvPr id="469" name="Group 468"/>
          <p:cNvGrpSpPr/>
          <p:nvPr/>
        </p:nvGrpSpPr>
        <p:grpSpPr>
          <a:xfrm>
            <a:off x="-295322" y="3817203"/>
            <a:ext cx="6019800" cy="907197"/>
            <a:chOff x="426425" y="1066800"/>
            <a:chExt cx="7283959" cy="907197"/>
          </a:xfrm>
        </p:grpSpPr>
        <p:grpSp>
          <p:nvGrpSpPr>
            <p:cNvPr id="470" name="Group 469"/>
            <p:cNvGrpSpPr/>
            <p:nvPr>
              <p:custDataLst>
                <p:tags r:id="rId3"/>
              </p:custDataLst>
            </p:nvPr>
          </p:nvGrpSpPr>
          <p:grpSpPr>
            <a:xfrm>
              <a:off x="426425" y="1132582"/>
              <a:ext cx="7283959" cy="841415"/>
              <a:chOff x="-819650" y="3573959"/>
              <a:chExt cx="9694949" cy="841415"/>
            </a:xfrm>
          </p:grpSpPr>
          <p:grpSp>
            <p:nvGrpSpPr>
              <p:cNvPr id="472" name="Group 471"/>
              <p:cNvGrpSpPr/>
              <p:nvPr/>
            </p:nvGrpSpPr>
            <p:grpSpPr>
              <a:xfrm>
                <a:off x="407559" y="3573959"/>
                <a:ext cx="8467740" cy="841415"/>
                <a:chOff x="940959" y="2177534"/>
                <a:chExt cx="8467740" cy="841415"/>
              </a:xfrm>
            </p:grpSpPr>
            <p:grpSp>
              <p:nvGrpSpPr>
                <p:cNvPr id="474" name="Group 473"/>
                <p:cNvGrpSpPr/>
                <p:nvPr>
                  <p:custDataLst>
                    <p:tags r:id="rId6"/>
                  </p:custDataLst>
                </p:nvPr>
              </p:nvGrpSpPr>
              <p:grpSpPr>
                <a:xfrm>
                  <a:off x="3124200" y="2286000"/>
                  <a:ext cx="4191000" cy="152400"/>
                  <a:chOff x="1981200" y="2362200"/>
                  <a:chExt cx="3962400" cy="152400"/>
                </a:xfrm>
              </p:grpSpPr>
              <p:cxnSp>
                <p:nvCxnSpPr>
                  <p:cNvPr id="477" name="Straight Connector 476"/>
                  <p:cNvCxnSpPr/>
                  <p:nvPr/>
                </p:nvCxnSpPr>
                <p:spPr>
                  <a:xfrm>
                    <a:off x="19812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478" name="Straight Connector 477"/>
                  <p:cNvCxnSpPr/>
                  <p:nvPr/>
                </p:nvCxnSpPr>
                <p:spPr>
                  <a:xfrm>
                    <a:off x="59436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479" name="Straight Connector 478"/>
                  <p:cNvCxnSpPr/>
                  <p:nvPr/>
                </p:nvCxnSpPr>
                <p:spPr>
                  <a:xfrm>
                    <a:off x="1981200" y="2438400"/>
                    <a:ext cx="3962400" cy="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</p:grpSp>
            <p:sp>
              <p:nvSpPr>
                <p:cNvPr id="475" name="TextBox 474"/>
                <p:cNvSpPr txBox="1"/>
                <p:nvPr>
                  <p:custDataLst>
                    <p:tags r:id="rId7"/>
                  </p:custDataLst>
                </p:nvPr>
              </p:nvSpPr>
              <p:spPr>
                <a:xfrm>
                  <a:off x="940959" y="2177534"/>
                  <a:ext cx="2200561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rPr>
                    <a:t>Promote grantmaking to organizations anywhere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76" name="TextBox 475"/>
                <p:cNvSpPr txBox="1"/>
                <p:nvPr>
                  <p:custDataLst>
                    <p:tags r:id="rId8"/>
                  </p:custDataLst>
                </p:nvPr>
              </p:nvSpPr>
              <p:spPr>
                <a:xfrm>
                  <a:off x="7275100" y="2187952"/>
                  <a:ext cx="2133599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rPr>
                    <a:t>Promote grantmaking to local organizations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473" name="TextBox 472"/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-819650" y="3594557"/>
                <a:ext cx="121920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 </a:t>
                </a:r>
                <a: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5   </a:t>
                </a:r>
              </a:p>
            </p:txBody>
          </p:sp>
        </p:grpSp>
        <p:sp>
          <p:nvSpPr>
            <p:cNvPr id="471" name="Oval 470"/>
            <p:cNvSpPr/>
            <p:nvPr>
              <p:custDataLst>
                <p:tags r:id="rId4"/>
              </p:custDataLst>
            </p:nvPr>
          </p:nvSpPr>
          <p:spPr>
            <a:xfrm>
              <a:off x="5486067" y="1066800"/>
              <a:ext cx="692356" cy="533400"/>
            </a:xfrm>
            <a:prstGeom prst="ellipse">
              <a:avLst/>
            </a:prstGeom>
            <a:solidFill>
              <a:srgbClr val="FFFFFF"/>
            </a:solidFill>
            <a:ln w="57150" cap="flat" cmpd="sng" algn="ctr">
              <a:solidFill>
                <a:srgbClr val="0064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80" name="TextBox 479"/>
          <p:cNvSpPr txBox="1"/>
          <p:nvPr/>
        </p:nvSpPr>
        <p:spPr>
          <a:xfrm>
            <a:off x="3419406" y="2208825"/>
            <a:ext cx="4667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64AD"/>
                </a:solidFill>
                <a:effectLst/>
                <a:uLnTx/>
                <a:uFillTx/>
              </a:rPr>
              <a:t>2012</a:t>
            </a:r>
          </a:p>
        </p:txBody>
      </p:sp>
      <p:sp>
        <p:nvSpPr>
          <p:cNvPr id="481" name="Oval 480"/>
          <p:cNvSpPr/>
          <p:nvPr>
            <p:custDataLst>
              <p:tags r:id="rId2"/>
            </p:custDataLst>
          </p:nvPr>
        </p:nvSpPr>
        <p:spPr>
          <a:xfrm>
            <a:off x="2286000" y="4648200"/>
            <a:ext cx="572195" cy="533400"/>
          </a:xfrm>
          <a:prstGeom prst="ellipse">
            <a:avLst/>
          </a:prstGeom>
          <a:solidFill>
            <a:srgbClr val="FFFFFF"/>
          </a:solidFill>
          <a:ln w="57150" cap="flat" cmpd="sng" algn="ctr">
            <a:solidFill>
              <a:srgbClr val="0064A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82" name="TextBox 481"/>
          <p:cNvSpPr txBox="1"/>
          <p:nvPr/>
        </p:nvSpPr>
        <p:spPr>
          <a:xfrm>
            <a:off x="2362200" y="4782979"/>
            <a:ext cx="42435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64AD"/>
                </a:solidFill>
                <a:effectLst/>
                <a:uLnTx/>
                <a:uFillTx/>
              </a:rPr>
              <a:t>2012</a:t>
            </a:r>
          </a:p>
        </p:txBody>
      </p:sp>
      <p:sp>
        <p:nvSpPr>
          <p:cNvPr id="483" name="TextBox 482"/>
          <p:cNvSpPr txBox="1"/>
          <p:nvPr/>
        </p:nvSpPr>
        <p:spPr>
          <a:xfrm>
            <a:off x="3919042" y="3961512"/>
            <a:ext cx="42435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64AD"/>
                </a:solidFill>
                <a:effectLst/>
                <a:uLnTx/>
                <a:uFillTx/>
              </a:rPr>
              <a:t>2012</a:t>
            </a:r>
          </a:p>
        </p:txBody>
      </p:sp>
      <p:sp>
        <p:nvSpPr>
          <p:cNvPr id="484" name="TextBox 483"/>
          <p:cNvSpPr txBox="1"/>
          <p:nvPr/>
        </p:nvSpPr>
        <p:spPr>
          <a:xfrm>
            <a:off x="3419406" y="3048000"/>
            <a:ext cx="4667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64AD"/>
                </a:solidFill>
                <a:effectLst/>
                <a:uLnTx/>
                <a:uFillTx/>
              </a:rPr>
              <a:t>2012</a:t>
            </a:r>
          </a:p>
        </p:txBody>
      </p:sp>
    </p:spTree>
    <p:extLst>
      <p:ext uri="{BB962C8B-B14F-4D97-AF65-F5344CB8AC3E}">
        <p14:creationId xmlns:p14="http://schemas.microsoft.com/office/powerpoint/2010/main" val="2913302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“DIVERSE, GLOBAL, COMPREHENSIVE” </a:t>
            </a:r>
            <a:br>
              <a:rPr lang="en-US" sz="2400" dirty="0" smtClean="0"/>
            </a:br>
            <a:r>
              <a:rPr lang="en-US" sz="2400" dirty="0" smtClean="0"/>
              <a:t>COMMUNITY FOUNDATION</a:t>
            </a:r>
            <a:endParaRPr lang="en-US" sz="24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89505" y="6370638"/>
            <a:ext cx="7800975" cy="487362"/>
          </a:xfrm>
        </p:spPr>
        <p:txBody>
          <a:bodyPr/>
          <a:lstStyle/>
          <a:p>
            <a:r>
              <a:rPr lang="en-US" dirty="0" smtClean="0"/>
              <a:t>“Do More than Grow”</a:t>
            </a:r>
            <a:endParaRPr lang="en-US" dirty="0"/>
          </a:p>
        </p:txBody>
      </p:sp>
      <p:pic>
        <p:nvPicPr>
          <p:cNvPr id="8" name="Picture 7" descr="seed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63664" y="142571"/>
            <a:ext cx="4006472" cy="7096429"/>
          </a:xfrm>
          <a:prstGeom prst="rect">
            <a:avLst/>
          </a:prstGeom>
        </p:spPr>
      </p:pic>
      <p:sp>
        <p:nvSpPr>
          <p:cNvPr id="7" name="Text Box 16"/>
          <p:cNvSpPr txBox="1">
            <a:spLocks noChangeArrowheads="1"/>
          </p:cNvSpPr>
          <p:nvPr/>
        </p:nvSpPr>
        <p:spPr bwMode="auto">
          <a:xfrm>
            <a:off x="213809" y="1644650"/>
            <a:ext cx="7943850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7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kern="0" dirty="0" smtClean="0">
                <a:solidFill>
                  <a:srgbClr val="336699"/>
                </a:solidFill>
                <a:effectLst/>
              </a:rPr>
              <a:t>cares </a:t>
            </a:r>
            <a:r>
              <a:rPr lang="en-US" sz="2800" kern="0" dirty="0">
                <a:solidFill>
                  <a:srgbClr val="336699"/>
                </a:solidFill>
                <a:effectLst/>
              </a:rPr>
              <a:t>about supporting local </a:t>
            </a:r>
            <a:r>
              <a:rPr lang="en-US" sz="2800" kern="0" dirty="0" smtClean="0">
                <a:solidFill>
                  <a:srgbClr val="336699"/>
                </a:solidFill>
                <a:effectLst/>
              </a:rPr>
              <a:t>donors’ philanthropy </a:t>
            </a:r>
            <a:r>
              <a:rPr lang="en-US" sz="2800" kern="0" dirty="0">
                <a:solidFill>
                  <a:srgbClr val="336699"/>
                </a:solidFill>
                <a:effectLst/>
              </a:rPr>
              <a:t>anywhere in the world</a:t>
            </a: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srgbClr val="336699"/>
              </a:solidFill>
              <a:effectLst/>
              <a:uLnTx/>
              <a:uFillTx/>
            </a:endParaRPr>
          </a:p>
        </p:txBody>
      </p:sp>
      <p:sp>
        <p:nvSpPr>
          <p:cNvPr id="11" name="Text Box 13"/>
          <p:cNvSpPr txBox="1">
            <a:spLocks noChangeArrowheads="1"/>
          </p:cNvSpPr>
          <p:nvPr/>
        </p:nvSpPr>
        <p:spPr bwMode="auto">
          <a:xfrm>
            <a:off x="3214616" y="2667000"/>
            <a:ext cx="5395984" cy="37087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228600" indent="-165100" algn="l">
              <a:defRPr>
                <a:solidFill>
                  <a:schemeClr val="tx1"/>
                </a:solidFill>
                <a:latin typeface="Arial" charset="0"/>
              </a:defRPr>
            </a:lvl1pPr>
            <a:lvl2pPr algn="l">
              <a:defRPr>
                <a:solidFill>
                  <a:schemeClr val="tx1"/>
                </a:solidFill>
                <a:latin typeface="Arial" charset="0"/>
              </a:defRPr>
            </a:lvl2pPr>
            <a:lvl3pPr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63500" lvl="0" indent="0" algn="ctr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1800" b="1" kern="0" dirty="0" smtClean="0">
                <a:solidFill>
                  <a:srgbClr val="595959"/>
                </a:solidFill>
                <a:effectLst/>
              </a:rPr>
              <a:t>Our Message: </a:t>
            </a:r>
          </a:p>
          <a:p>
            <a:pPr marL="63500" lvl="0" indent="0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0" dirty="0" smtClean="0">
                <a:solidFill>
                  <a:srgbClr val="595959"/>
                </a:solidFill>
                <a:effectLst/>
              </a:rPr>
              <a:t>“We are a </a:t>
            </a:r>
            <a:r>
              <a:rPr lang="en-US" sz="1800" kern="0" dirty="0">
                <a:solidFill>
                  <a:srgbClr val="595959"/>
                </a:solidFill>
                <a:effectLst/>
              </a:rPr>
              <a:t>comprehensive resource for philanthropy </a:t>
            </a:r>
            <a:r>
              <a:rPr lang="en-US" sz="1800" kern="0" dirty="0" smtClean="0">
                <a:solidFill>
                  <a:srgbClr val="595959"/>
                </a:solidFill>
                <a:effectLst/>
              </a:rPr>
              <a:t>promoting </a:t>
            </a:r>
            <a:r>
              <a:rPr lang="en-US" sz="1800" kern="0" dirty="0">
                <a:solidFill>
                  <a:srgbClr val="595959"/>
                </a:solidFill>
                <a:effectLst/>
              </a:rPr>
              <a:t>our DAFs as a strong but distinct choice”</a:t>
            </a:r>
          </a:p>
          <a:p>
            <a:pPr marL="63500" lvl="0" indent="0" algn="ctr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1800" b="1" kern="0" dirty="0" smtClean="0">
                <a:solidFill>
                  <a:srgbClr val="595959"/>
                </a:solidFill>
                <a:effectLst/>
              </a:rPr>
              <a:t>Our Approach: </a:t>
            </a:r>
          </a:p>
          <a:p>
            <a:pPr marL="63500" indent="0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0" dirty="0">
                <a:solidFill>
                  <a:srgbClr val="595959"/>
                </a:solidFill>
                <a:effectLst/>
              </a:rPr>
              <a:t>Our work extends into many </a:t>
            </a:r>
            <a:r>
              <a:rPr lang="en-US" sz="1800" kern="0" dirty="0" smtClean="0">
                <a:solidFill>
                  <a:srgbClr val="595959"/>
                </a:solidFill>
                <a:effectLst/>
              </a:rPr>
              <a:t>realms and we have built scale to support </a:t>
            </a:r>
            <a:r>
              <a:rPr lang="en-US" sz="1800" kern="0" dirty="0">
                <a:solidFill>
                  <a:srgbClr val="595959"/>
                </a:solidFill>
                <a:effectLst/>
              </a:rPr>
              <a:t>a diverse set of needs. We </a:t>
            </a:r>
            <a:r>
              <a:rPr lang="en-US" sz="1800" kern="0" dirty="0" smtClean="0">
                <a:solidFill>
                  <a:srgbClr val="595959"/>
                </a:solidFill>
                <a:effectLst/>
              </a:rPr>
              <a:t>learning </a:t>
            </a:r>
            <a:r>
              <a:rPr lang="en-US" sz="1800" kern="0" dirty="0">
                <a:solidFill>
                  <a:srgbClr val="595959"/>
                </a:solidFill>
                <a:effectLst/>
              </a:rPr>
              <a:t>about our </a:t>
            </a:r>
            <a:r>
              <a:rPr lang="en-US" sz="1800" kern="0" dirty="0" smtClean="0">
                <a:solidFill>
                  <a:srgbClr val="595959"/>
                </a:solidFill>
                <a:effectLst/>
              </a:rPr>
              <a:t>donors and </a:t>
            </a:r>
            <a:r>
              <a:rPr lang="en-US" sz="1800" kern="0" dirty="0">
                <a:solidFill>
                  <a:srgbClr val="595959"/>
                </a:solidFill>
                <a:effectLst/>
              </a:rPr>
              <a:t>then </a:t>
            </a:r>
            <a:r>
              <a:rPr lang="en-US" sz="1800" kern="0" dirty="0" smtClean="0">
                <a:solidFill>
                  <a:srgbClr val="595959"/>
                </a:solidFill>
                <a:effectLst/>
              </a:rPr>
              <a:t>support </a:t>
            </a:r>
            <a:r>
              <a:rPr lang="en-US" sz="1800" kern="0" dirty="0">
                <a:solidFill>
                  <a:srgbClr val="595959"/>
                </a:solidFill>
                <a:effectLst/>
              </a:rPr>
              <a:t>them in reaching their </a:t>
            </a:r>
            <a:r>
              <a:rPr lang="en-US" sz="1800" kern="0" dirty="0" smtClean="0">
                <a:solidFill>
                  <a:srgbClr val="595959"/>
                </a:solidFill>
                <a:effectLst/>
              </a:rPr>
              <a:t>goals</a:t>
            </a:r>
            <a:r>
              <a:rPr lang="en-US" sz="1800" kern="0" dirty="0">
                <a:solidFill>
                  <a:srgbClr val="595959"/>
                </a:solidFill>
                <a:effectLst/>
              </a:rPr>
              <a:t>. Where our interests align, we </a:t>
            </a:r>
            <a:r>
              <a:rPr lang="en-US" sz="1800" kern="0" dirty="0" smtClean="0">
                <a:solidFill>
                  <a:srgbClr val="595959"/>
                </a:solidFill>
                <a:effectLst/>
              </a:rPr>
              <a:t>talk </a:t>
            </a:r>
            <a:r>
              <a:rPr lang="en-US" sz="1800" kern="0" dirty="0">
                <a:solidFill>
                  <a:srgbClr val="595959"/>
                </a:solidFill>
                <a:effectLst/>
              </a:rPr>
              <a:t>with </a:t>
            </a:r>
            <a:r>
              <a:rPr lang="en-US" sz="1800" kern="0" dirty="0" smtClean="0">
                <a:solidFill>
                  <a:srgbClr val="595959"/>
                </a:solidFill>
                <a:effectLst/>
              </a:rPr>
              <a:t>our donors about our priorities.</a:t>
            </a:r>
            <a:endParaRPr lang="en-US" sz="1800" kern="0" dirty="0">
              <a:solidFill>
                <a:srgbClr val="595959"/>
              </a:solidFill>
              <a:effectLst/>
            </a:endParaRPr>
          </a:p>
          <a:p>
            <a:pPr marL="63500" indent="0" algn="ctr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1800" b="1" kern="0" dirty="0" smtClean="0">
                <a:solidFill>
                  <a:srgbClr val="595959"/>
                </a:solidFill>
                <a:effectLst/>
              </a:rPr>
              <a:t>Question We Face</a:t>
            </a: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</a:rPr>
              <a:t>:</a:t>
            </a:r>
            <a:r>
              <a:rPr kumimoji="0" lang="en-US" sz="1800" b="1" i="0" u="none" strike="noStrike" kern="0" cap="none" spc="0" normalizeH="0" noProof="0" dirty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</a:rPr>
              <a:t> </a:t>
            </a:r>
          </a:p>
          <a:p>
            <a:pPr marL="63500" lvl="0" indent="0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0" dirty="0" smtClean="0">
                <a:solidFill>
                  <a:srgbClr val="595959"/>
                </a:solidFill>
                <a:effectLst/>
              </a:rPr>
              <a:t>We are trying many things – will there be a need for greater focus in the future?</a:t>
            </a:r>
            <a:endParaRPr lang="en-US" sz="1800" kern="0" dirty="0">
              <a:solidFill>
                <a:srgbClr val="595959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4574937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“DIVERSE, GLOBAL, COMPREHENSIVE” </a:t>
            </a:r>
            <a:br>
              <a:rPr lang="en-US" sz="2400" dirty="0" smtClean="0"/>
            </a:br>
            <a:r>
              <a:rPr lang="en-US" sz="2400" dirty="0" smtClean="0"/>
              <a:t>COMMUNITY </a:t>
            </a:r>
            <a:r>
              <a:rPr lang="en-US" sz="2400" dirty="0"/>
              <a:t>FOUNDATION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89505" y="6370638"/>
            <a:ext cx="7800975" cy="487362"/>
          </a:xfrm>
        </p:spPr>
        <p:txBody>
          <a:bodyPr/>
          <a:lstStyle/>
          <a:p>
            <a:r>
              <a:rPr lang="en-US" dirty="0" smtClean="0"/>
              <a:t>“Do More than Grow”</a:t>
            </a:r>
            <a:endParaRPr lang="en-US" dirty="0"/>
          </a:p>
        </p:txBody>
      </p:sp>
      <p:grpSp>
        <p:nvGrpSpPr>
          <p:cNvPr id="63" name="Group 62"/>
          <p:cNvGrpSpPr/>
          <p:nvPr/>
        </p:nvGrpSpPr>
        <p:grpSpPr>
          <a:xfrm>
            <a:off x="6260221" y="2405390"/>
            <a:ext cx="2019300" cy="708630"/>
            <a:chOff x="5791200" y="2100590"/>
            <a:chExt cx="2019300" cy="708630"/>
          </a:xfrm>
        </p:grpSpPr>
        <p:sp>
          <p:nvSpPr>
            <p:cNvPr id="64" name="Rectangle 63"/>
            <p:cNvSpPr/>
            <p:nvPr/>
          </p:nvSpPr>
          <p:spPr>
            <a:xfrm>
              <a:off x="5867400" y="2391251"/>
              <a:ext cx="441449" cy="385465"/>
            </a:xfrm>
            <a:prstGeom prst="rect">
              <a:avLst/>
            </a:prstGeom>
            <a:solidFill>
              <a:srgbClr val="FA96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5791200" y="2100590"/>
              <a:ext cx="20193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Pledge planned gifts</a:t>
              </a: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6324600" y="2286000"/>
              <a:ext cx="12954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16% vs </a:t>
              </a:r>
              <a:b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</a:b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13% average</a:t>
              </a: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6260221" y="3276600"/>
            <a:ext cx="2019300" cy="742146"/>
            <a:chOff x="5791200" y="2100590"/>
            <a:chExt cx="2019300" cy="742146"/>
          </a:xfrm>
        </p:grpSpPr>
        <p:sp>
          <p:nvSpPr>
            <p:cNvPr id="68" name="Rectangle 67"/>
            <p:cNvSpPr/>
            <p:nvPr/>
          </p:nvSpPr>
          <p:spPr>
            <a:xfrm>
              <a:off x="5867400" y="2391251"/>
              <a:ext cx="587568" cy="385465"/>
            </a:xfrm>
            <a:prstGeom prst="rect">
              <a:avLst/>
            </a:prstGeom>
            <a:solidFill>
              <a:srgbClr val="FA96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5791200" y="2100590"/>
              <a:ext cx="20193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Coinvest</a:t>
              </a: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6477000" y="2319516"/>
              <a:ext cx="13335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22% vs </a:t>
              </a:r>
              <a:b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</a:b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23% average</a:t>
              </a: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6260221" y="4200674"/>
            <a:ext cx="2209800" cy="742146"/>
            <a:chOff x="5791200" y="2100590"/>
            <a:chExt cx="2209800" cy="742146"/>
          </a:xfrm>
        </p:grpSpPr>
        <p:sp>
          <p:nvSpPr>
            <p:cNvPr id="72" name="Rectangle 71"/>
            <p:cNvSpPr/>
            <p:nvPr/>
          </p:nvSpPr>
          <p:spPr>
            <a:xfrm>
              <a:off x="5867400" y="2391251"/>
              <a:ext cx="838200" cy="385465"/>
            </a:xfrm>
            <a:prstGeom prst="rect">
              <a:avLst/>
            </a:prstGeom>
            <a:solidFill>
              <a:srgbClr val="FA96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5791200" y="2100590"/>
              <a:ext cx="20193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Local grant dollars</a:t>
              </a: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6705600" y="2319516"/>
              <a:ext cx="12954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34% vs</a:t>
              </a:r>
              <a:b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</a:b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63% average</a:t>
              </a:r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1373746" y="1862763"/>
            <a:ext cx="7617854" cy="475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</a:rPr>
              <a:t>Diverse, Global and Comprehensive  – Low Alignment and Low Local Giving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6242130" y="5181600"/>
            <a:ext cx="260889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A9600"/>
                </a:solidFill>
                <a:effectLst/>
                <a:uLnTx/>
                <a:uFillTx/>
                <a:latin typeface="Arial"/>
              </a:rPr>
              <a:t>Effective Fee: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</a:rPr>
              <a:t>Differentiated fees by tier – breaking even</a:t>
            </a:r>
          </a:p>
        </p:txBody>
      </p:sp>
      <p:grpSp>
        <p:nvGrpSpPr>
          <p:cNvPr id="77" name="Group 76"/>
          <p:cNvGrpSpPr/>
          <p:nvPr/>
        </p:nvGrpSpPr>
        <p:grpSpPr>
          <a:xfrm>
            <a:off x="164221" y="3207603"/>
            <a:ext cx="6019800" cy="907197"/>
            <a:chOff x="426425" y="1066800"/>
            <a:chExt cx="7283959" cy="907197"/>
          </a:xfrm>
        </p:grpSpPr>
        <p:grpSp>
          <p:nvGrpSpPr>
            <p:cNvPr id="78" name="Group 77"/>
            <p:cNvGrpSpPr/>
            <p:nvPr>
              <p:custDataLst>
                <p:tags r:id="rId19"/>
              </p:custDataLst>
            </p:nvPr>
          </p:nvGrpSpPr>
          <p:grpSpPr>
            <a:xfrm>
              <a:off x="426425" y="1132582"/>
              <a:ext cx="7283959" cy="841415"/>
              <a:chOff x="-819650" y="3573959"/>
              <a:chExt cx="9694949" cy="841415"/>
            </a:xfrm>
          </p:grpSpPr>
          <p:grpSp>
            <p:nvGrpSpPr>
              <p:cNvPr id="80" name="Group 79"/>
              <p:cNvGrpSpPr/>
              <p:nvPr/>
            </p:nvGrpSpPr>
            <p:grpSpPr>
              <a:xfrm>
                <a:off x="407559" y="3573959"/>
                <a:ext cx="8467740" cy="841415"/>
                <a:chOff x="940959" y="2177534"/>
                <a:chExt cx="8467740" cy="841415"/>
              </a:xfrm>
            </p:grpSpPr>
            <p:grpSp>
              <p:nvGrpSpPr>
                <p:cNvPr id="82" name="Group 81"/>
                <p:cNvGrpSpPr/>
                <p:nvPr>
                  <p:custDataLst>
                    <p:tags r:id="rId22"/>
                  </p:custDataLst>
                </p:nvPr>
              </p:nvGrpSpPr>
              <p:grpSpPr>
                <a:xfrm>
                  <a:off x="3124200" y="2286000"/>
                  <a:ext cx="4191000" cy="152400"/>
                  <a:chOff x="1981200" y="2362200"/>
                  <a:chExt cx="3962400" cy="152400"/>
                </a:xfrm>
              </p:grpSpPr>
              <p:cxnSp>
                <p:nvCxnSpPr>
                  <p:cNvPr id="85" name="Straight Connector 84"/>
                  <p:cNvCxnSpPr/>
                  <p:nvPr/>
                </p:nvCxnSpPr>
                <p:spPr>
                  <a:xfrm>
                    <a:off x="19812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86" name="Straight Connector 85"/>
                  <p:cNvCxnSpPr/>
                  <p:nvPr/>
                </p:nvCxnSpPr>
                <p:spPr>
                  <a:xfrm>
                    <a:off x="59436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87" name="Straight Connector 86"/>
                  <p:cNvCxnSpPr/>
                  <p:nvPr/>
                </p:nvCxnSpPr>
                <p:spPr>
                  <a:xfrm>
                    <a:off x="1981200" y="2438400"/>
                    <a:ext cx="3962400" cy="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</p:grpSp>
            <p:sp>
              <p:nvSpPr>
                <p:cNvPr id="83" name="TextBox 82"/>
                <p:cNvSpPr txBox="1"/>
                <p:nvPr>
                  <p:custDataLst>
                    <p:tags r:id="rId23"/>
                  </p:custDataLst>
                </p:nvPr>
              </p:nvSpPr>
              <p:spPr>
                <a:xfrm>
                  <a:off x="940959" y="2177534"/>
                  <a:ext cx="2200561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Arial"/>
                    </a:rPr>
                    <a:t>Support DAF grantmaking that meets donors’ priorities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84" name="TextBox 83"/>
                <p:cNvSpPr txBox="1"/>
                <p:nvPr>
                  <p:custDataLst>
                    <p:tags r:id="rId24"/>
                  </p:custDataLst>
                </p:nvPr>
              </p:nvSpPr>
              <p:spPr>
                <a:xfrm>
                  <a:off x="7275100" y="2187952"/>
                  <a:ext cx="2133599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Arial"/>
                    </a:rPr>
                    <a:t>Align DAF grantmaking with priorities identified by the CF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  <p:sp>
            <p:nvSpPr>
              <p:cNvPr id="81" name="TextBox 80"/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-819650" y="3594557"/>
                <a:ext cx="121920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 4</a:t>
                </a:r>
                <a: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   </a:t>
                </a:r>
              </a:p>
            </p:txBody>
          </p:sp>
        </p:grpSp>
        <p:sp>
          <p:nvSpPr>
            <p:cNvPr id="79" name="Oval 78"/>
            <p:cNvSpPr/>
            <p:nvPr>
              <p:custDataLst>
                <p:tags r:id="rId20"/>
              </p:custDataLst>
            </p:nvPr>
          </p:nvSpPr>
          <p:spPr>
            <a:xfrm>
              <a:off x="3698755" y="1066800"/>
              <a:ext cx="692356" cy="533400"/>
            </a:xfrm>
            <a:prstGeom prst="ellipse">
              <a:avLst/>
            </a:prstGeom>
            <a:solidFill>
              <a:srgbClr val="FFFFFF"/>
            </a:solidFill>
            <a:ln w="57150" cap="flat" cmpd="sng" algn="ctr">
              <a:solidFill>
                <a:srgbClr val="0064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173699" y="2369403"/>
            <a:ext cx="6019800" cy="907197"/>
            <a:chOff x="426425" y="1066800"/>
            <a:chExt cx="7283959" cy="907197"/>
          </a:xfrm>
        </p:grpSpPr>
        <p:grpSp>
          <p:nvGrpSpPr>
            <p:cNvPr id="89" name="Group 88"/>
            <p:cNvGrpSpPr/>
            <p:nvPr>
              <p:custDataLst>
                <p:tags r:id="rId13"/>
              </p:custDataLst>
            </p:nvPr>
          </p:nvGrpSpPr>
          <p:grpSpPr>
            <a:xfrm>
              <a:off x="426425" y="1132582"/>
              <a:ext cx="7283959" cy="841415"/>
              <a:chOff x="-819650" y="3573959"/>
              <a:chExt cx="9694949" cy="841415"/>
            </a:xfrm>
          </p:grpSpPr>
          <p:grpSp>
            <p:nvGrpSpPr>
              <p:cNvPr id="91" name="Group 90"/>
              <p:cNvGrpSpPr/>
              <p:nvPr/>
            </p:nvGrpSpPr>
            <p:grpSpPr>
              <a:xfrm>
                <a:off x="407559" y="3573959"/>
                <a:ext cx="8467740" cy="841415"/>
                <a:chOff x="940959" y="2177534"/>
                <a:chExt cx="8467740" cy="841415"/>
              </a:xfrm>
            </p:grpSpPr>
            <p:grpSp>
              <p:nvGrpSpPr>
                <p:cNvPr id="93" name="Group 92"/>
                <p:cNvGrpSpPr/>
                <p:nvPr>
                  <p:custDataLst>
                    <p:tags r:id="rId16"/>
                  </p:custDataLst>
                </p:nvPr>
              </p:nvGrpSpPr>
              <p:grpSpPr>
                <a:xfrm>
                  <a:off x="3124200" y="2286000"/>
                  <a:ext cx="4191000" cy="152400"/>
                  <a:chOff x="1981200" y="2362200"/>
                  <a:chExt cx="3962400" cy="152400"/>
                </a:xfrm>
              </p:grpSpPr>
              <p:cxnSp>
                <p:nvCxnSpPr>
                  <p:cNvPr id="96" name="Straight Connector 95"/>
                  <p:cNvCxnSpPr/>
                  <p:nvPr/>
                </p:nvCxnSpPr>
                <p:spPr>
                  <a:xfrm>
                    <a:off x="19812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97" name="Straight Connector 96"/>
                  <p:cNvCxnSpPr/>
                  <p:nvPr/>
                </p:nvCxnSpPr>
                <p:spPr>
                  <a:xfrm>
                    <a:off x="59436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98" name="Straight Connector 97"/>
                  <p:cNvCxnSpPr/>
                  <p:nvPr/>
                </p:nvCxnSpPr>
                <p:spPr>
                  <a:xfrm>
                    <a:off x="1981200" y="2438400"/>
                    <a:ext cx="3962400" cy="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</p:grpSp>
            <p:sp>
              <p:nvSpPr>
                <p:cNvPr id="94" name="TextBox 93"/>
                <p:cNvSpPr txBox="1"/>
                <p:nvPr>
                  <p:custDataLst>
                    <p:tags r:id="rId17"/>
                  </p:custDataLst>
                </p:nvPr>
              </p:nvSpPr>
              <p:spPr>
                <a:xfrm>
                  <a:off x="940959" y="2177534"/>
                  <a:ext cx="2200561" cy="6463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Arial"/>
                    </a:rPr>
                    <a:t>Position DAFs as a stand-alone offering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95" name="TextBox 94"/>
                <p:cNvSpPr txBox="1"/>
                <p:nvPr>
                  <p:custDataLst>
                    <p:tags r:id="rId18"/>
                  </p:custDataLst>
                </p:nvPr>
              </p:nvSpPr>
              <p:spPr>
                <a:xfrm>
                  <a:off x="7275100" y="2187952"/>
                  <a:ext cx="2133599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Arial"/>
                    </a:rPr>
                    <a:t>Position DAFs as an entry point to grow more flexible assets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  <p:sp>
            <p:nvSpPr>
              <p:cNvPr id="92" name="TextBox 91"/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-819650" y="3594557"/>
                <a:ext cx="121920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 </a:t>
                </a:r>
                <a: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1   </a:t>
                </a:r>
              </a:p>
            </p:txBody>
          </p:sp>
        </p:grpSp>
        <p:sp>
          <p:nvSpPr>
            <p:cNvPr id="90" name="Oval 89"/>
            <p:cNvSpPr/>
            <p:nvPr>
              <p:custDataLst>
                <p:tags r:id="rId14"/>
              </p:custDataLst>
            </p:nvPr>
          </p:nvSpPr>
          <p:spPr>
            <a:xfrm>
              <a:off x="3642027" y="1066800"/>
              <a:ext cx="692356" cy="533400"/>
            </a:xfrm>
            <a:prstGeom prst="ellipse">
              <a:avLst/>
            </a:prstGeom>
            <a:solidFill>
              <a:srgbClr val="FFFFFF"/>
            </a:solidFill>
            <a:ln w="57150" cap="flat" cmpd="sng" algn="ctr">
              <a:solidFill>
                <a:srgbClr val="0064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99" name="Group 98"/>
          <p:cNvGrpSpPr/>
          <p:nvPr>
            <p:custDataLst>
              <p:tags r:id="rId1"/>
            </p:custDataLst>
          </p:nvPr>
        </p:nvGrpSpPr>
        <p:grpSpPr>
          <a:xfrm>
            <a:off x="164221" y="4993719"/>
            <a:ext cx="6029280" cy="1026081"/>
            <a:chOff x="-819650" y="3573959"/>
            <a:chExt cx="9710215" cy="1026081"/>
          </a:xfrm>
        </p:grpSpPr>
        <p:grpSp>
          <p:nvGrpSpPr>
            <p:cNvPr id="100" name="Group 99"/>
            <p:cNvGrpSpPr/>
            <p:nvPr/>
          </p:nvGrpSpPr>
          <p:grpSpPr>
            <a:xfrm>
              <a:off x="407559" y="3573959"/>
              <a:ext cx="8483006" cy="1026081"/>
              <a:chOff x="940959" y="2177534"/>
              <a:chExt cx="8483006" cy="1026081"/>
            </a:xfrm>
          </p:grpSpPr>
          <p:grpSp>
            <p:nvGrpSpPr>
              <p:cNvPr id="102" name="Group 101"/>
              <p:cNvGrpSpPr/>
              <p:nvPr>
                <p:custDataLst>
                  <p:tags r:id="rId10"/>
                </p:custDataLst>
              </p:nvPr>
            </p:nvGrpSpPr>
            <p:grpSpPr>
              <a:xfrm>
                <a:off x="3124200" y="2286000"/>
                <a:ext cx="4191000" cy="152400"/>
                <a:chOff x="1981200" y="2362200"/>
                <a:chExt cx="3962400" cy="152400"/>
              </a:xfrm>
            </p:grpSpPr>
            <p:cxnSp>
              <p:nvCxnSpPr>
                <p:cNvPr id="105" name="Straight Connector 104"/>
                <p:cNvCxnSpPr/>
                <p:nvPr/>
              </p:nvCxnSpPr>
              <p:spPr>
                <a:xfrm>
                  <a:off x="1981200" y="2362200"/>
                  <a:ext cx="0" cy="15240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rgbClr val="FA9600">
                      <a:shade val="95000"/>
                      <a:satMod val="10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106" name="Straight Connector 105"/>
                <p:cNvCxnSpPr/>
                <p:nvPr/>
              </p:nvCxnSpPr>
              <p:spPr>
                <a:xfrm>
                  <a:off x="5943600" y="2362200"/>
                  <a:ext cx="0" cy="15240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rgbClr val="FA9600">
                      <a:shade val="95000"/>
                      <a:satMod val="10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107" name="Straight Connector 106"/>
                <p:cNvCxnSpPr/>
                <p:nvPr/>
              </p:nvCxnSpPr>
              <p:spPr>
                <a:xfrm>
                  <a:off x="1981200" y="2438400"/>
                  <a:ext cx="3962400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rgbClr val="FA9600">
                      <a:shade val="95000"/>
                      <a:satMod val="105000"/>
                    </a:srgbClr>
                  </a:solidFill>
                  <a:prstDash val="solid"/>
                </a:ln>
                <a:effectLst/>
              </p:spPr>
            </p:cxnSp>
          </p:grpSp>
          <p:sp>
            <p:nvSpPr>
              <p:cNvPr id="103" name="TextBox 102"/>
              <p:cNvSpPr txBox="1"/>
              <p:nvPr>
                <p:custDataLst>
                  <p:tags r:id="rId11"/>
                </p:custDataLst>
              </p:nvPr>
            </p:nvSpPr>
            <p:spPr>
              <a:xfrm>
                <a:off x="940959" y="2177534"/>
                <a:ext cx="2200561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rPr>
                  <a:t>DAFs are a “loss-leader” to bring in other fund types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04" name="TextBox 103"/>
              <p:cNvSpPr txBox="1"/>
              <p:nvPr>
                <p:custDataLst>
                  <p:tags r:id="rId12"/>
                </p:custDataLst>
              </p:nvPr>
            </p:nvSpPr>
            <p:spPr>
              <a:xfrm>
                <a:off x="7077005" y="2187952"/>
                <a:ext cx="2346960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rPr>
                  <a:t>DAFs should generate a </a:t>
                </a:r>
              </a:p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rPr>
                  <a:t>surplus to support other areas of our operations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101" name="TextBox 100"/>
            <p:cNvSpPr txBox="1"/>
            <p:nvPr>
              <p:custDataLst>
                <p:tags r:id="rId9"/>
              </p:custDataLst>
            </p:nvPr>
          </p:nvSpPr>
          <p:spPr>
            <a:xfrm>
              <a:off x="-819650" y="3594557"/>
              <a:ext cx="12192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cs typeface="Calibri" pitchFamily="34" charset="0"/>
                </a:rPr>
                <a:t> </a:t>
              </a:r>
              <a:r>
                <a:rPr kumimoji="0" lang="en-US" sz="2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cs typeface="Calibri" pitchFamily="34" charset="0"/>
                </a:rPr>
                <a:t>6   </a:t>
              </a:r>
            </a:p>
          </p:txBody>
        </p:sp>
      </p:grpSp>
      <p:grpSp>
        <p:nvGrpSpPr>
          <p:cNvPr id="108" name="Group 107"/>
          <p:cNvGrpSpPr/>
          <p:nvPr/>
        </p:nvGrpSpPr>
        <p:grpSpPr>
          <a:xfrm>
            <a:off x="173699" y="4122003"/>
            <a:ext cx="6019800" cy="907197"/>
            <a:chOff x="426425" y="1066800"/>
            <a:chExt cx="7283959" cy="907197"/>
          </a:xfrm>
        </p:grpSpPr>
        <p:grpSp>
          <p:nvGrpSpPr>
            <p:cNvPr id="109" name="Group 108"/>
            <p:cNvGrpSpPr/>
            <p:nvPr>
              <p:custDataLst>
                <p:tags r:id="rId3"/>
              </p:custDataLst>
            </p:nvPr>
          </p:nvGrpSpPr>
          <p:grpSpPr>
            <a:xfrm>
              <a:off x="426425" y="1132582"/>
              <a:ext cx="7283959" cy="841415"/>
              <a:chOff x="-819650" y="3573959"/>
              <a:chExt cx="9694949" cy="841415"/>
            </a:xfrm>
          </p:grpSpPr>
          <p:grpSp>
            <p:nvGrpSpPr>
              <p:cNvPr id="111" name="Group 110"/>
              <p:cNvGrpSpPr/>
              <p:nvPr/>
            </p:nvGrpSpPr>
            <p:grpSpPr>
              <a:xfrm>
                <a:off x="407559" y="3573959"/>
                <a:ext cx="8467740" cy="841415"/>
                <a:chOff x="940959" y="2177534"/>
                <a:chExt cx="8467740" cy="841415"/>
              </a:xfrm>
            </p:grpSpPr>
            <p:grpSp>
              <p:nvGrpSpPr>
                <p:cNvPr id="113" name="Group 112"/>
                <p:cNvGrpSpPr/>
                <p:nvPr>
                  <p:custDataLst>
                    <p:tags r:id="rId6"/>
                  </p:custDataLst>
                </p:nvPr>
              </p:nvGrpSpPr>
              <p:grpSpPr>
                <a:xfrm>
                  <a:off x="3124200" y="2286000"/>
                  <a:ext cx="4191000" cy="152400"/>
                  <a:chOff x="1981200" y="2362200"/>
                  <a:chExt cx="3962400" cy="152400"/>
                </a:xfrm>
              </p:grpSpPr>
              <p:cxnSp>
                <p:nvCxnSpPr>
                  <p:cNvPr id="116" name="Straight Connector 115"/>
                  <p:cNvCxnSpPr/>
                  <p:nvPr/>
                </p:nvCxnSpPr>
                <p:spPr>
                  <a:xfrm>
                    <a:off x="19812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7" name="Straight Connector 116"/>
                  <p:cNvCxnSpPr/>
                  <p:nvPr/>
                </p:nvCxnSpPr>
                <p:spPr>
                  <a:xfrm>
                    <a:off x="59436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118" name="Straight Connector 117"/>
                  <p:cNvCxnSpPr/>
                  <p:nvPr/>
                </p:nvCxnSpPr>
                <p:spPr>
                  <a:xfrm>
                    <a:off x="1981200" y="2438400"/>
                    <a:ext cx="3962400" cy="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</p:grpSp>
            <p:sp>
              <p:nvSpPr>
                <p:cNvPr id="114" name="TextBox 113"/>
                <p:cNvSpPr txBox="1"/>
                <p:nvPr>
                  <p:custDataLst>
                    <p:tags r:id="rId7"/>
                  </p:custDataLst>
                </p:nvPr>
              </p:nvSpPr>
              <p:spPr>
                <a:xfrm>
                  <a:off x="940959" y="2177534"/>
                  <a:ext cx="2200561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Arial"/>
                    </a:rPr>
                    <a:t>Promote grantmaking to organizations anywhere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115" name="TextBox 114"/>
                <p:cNvSpPr txBox="1"/>
                <p:nvPr>
                  <p:custDataLst>
                    <p:tags r:id="rId8"/>
                  </p:custDataLst>
                </p:nvPr>
              </p:nvSpPr>
              <p:spPr>
                <a:xfrm>
                  <a:off x="7275100" y="2187952"/>
                  <a:ext cx="2133599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Arial"/>
                    </a:rPr>
                    <a:t>Promote grantmaking to local organizations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  <p:sp>
            <p:nvSpPr>
              <p:cNvPr id="112" name="TextBox 111"/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-819650" y="3594557"/>
                <a:ext cx="121920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 </a:t>
                </a:r>
                <a: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5   </a:t>
                </a:r>
              </a:p>
            </p:txBody>
          </p:sp>
        </p:grpSp>
        <p:sp>
          <p:nvSpPr>
            <p:cNvPr id="110" name="Oval 109"/>
            <p:cNvSpPr/>
            <p:nvPr>
              <p:custDataLst>
                <p:tags r:id="rId4"/>
              </p:custDataLst>
            </p:nvPr>
          </p:nvSpPr>
          <p:spPr>
            <a:xfrm>
              <a:off x="2904411" y="1066800"/>
              <a:ext cx="692356" cy="533400"/>
            </a:xfrm>
            <a:prstGeom prst="ellipse">
              <a:avLst/>
            </a:prstGeom>
            <a:solidFill>
              <a:srgbClr val="FFFFFF"/>
            </a:solidFill>
            <a:ln w="57150" cap="flat" cmpd="sng" algn="ctr">
              <a:solidFill>
                <a:srgbClr val="0064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19" name="TextBox 118"/>
          <p:cNvSpPr txBox="1"/>
          <p:nvPr/>
        </p:nvSpPr>
        <p:spPr>
          <a:xfrm>
            <a:off x="2897827" y="2513625"/>
            <a:ext cx="4667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64AD"/>
                </a:solidFill>
                <a:effectLst/>
                <a:uLnTx/>
                <a:uFillTx/>
                <a:latin typeface="Arial"/>
              </a:rPr>
              <a:t>2012</a:t>
            </a:r>
          </a:p>
        </p:txBody>
      </p:sp>
      <p:sp>
        <p:nvSpPr>
          <p:cNvPr id="120" name="Oval 119"/>
          <p:cNvSpPr/>
          <p:nvPr>
            <p:custDataLst>
              <p:tags r:id="rId2"/>
            </p:custDataLst>
          </p:nvPr>
        </p:nvSpPr>
        <p:spPr>
          <a:xfrm>
            <a:off x="3364621" y="4953000"/>
            <a:ext cx="572195" cy="533400"/>
          </a:xfrm>
          <a:prstGeom prst="ellipse">
            <a:avLst/>
          </a:prstGeom>
          <a:solidFill>
            <a:srgbClr val="FFFFFF"/>
          </a:solidFill>
          <a:ln w="57150" cap="flat" cmpd="sng" algn="ctr">
            <a:solidFill>
              <a:srgbClr val="0064A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3397463" y="5087779"/>
            <a:ext cx="42435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64AD"/>
                </a:solidFill>
                <a:effectLst/>
                <a:uLnTx/>
                <a:uFillTx/>
                <a:latin typeface="Arial"/>
              </a:rPr>
              <a:t>2012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2254463" y="4266312"/>
            <a:ext cx="42435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64AD"/>
                </a:solidFill>
                <a:effectLst/>
                <a:uLnTx/>
                <a:uFillTx/>
                <a:latin typeface="Arial"/>
              </a:rPr>
              <a:t>2012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2907421" y="3352800"/>
            <a:ext cx="4667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64AD"/>
                </a:solidFill>
                <a:effectLst/>
                <a:uLnTx/>
                <a:uFillTx/>
                <a:latin typeface="Arial"/>
              </a:rPr>
              <a:t>2012</a:t>
            </a:r>
          </a:p>
        </p:txBody>
      </p:sp>
    </p:spTree>
    <p:extLst>
      <p:ext uri="{BB962C8B-B14F-4D97-AF65-F5344CB8AC3E}">
        <p14:creationId xmlns:p14="http://schemas.microsoft.com/office/powerpoint/2010/main" val="3970747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 the last decade, many CFs have more than doubled their efforts in community leadership</a:t>
            </a:r>
            <a:endParaRPr lang="en-US" dirty="0"/>
          </a:p>
        </p:txBody>
      </p:sp>
      <p:pic>
        <p:nvPicPr>
          <p:cNvPr id="24" name="Picture 2" descr="http://www.cpre.org/sites/all/themes/cpre/images/home_slide_8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307" y="1849912"/>
            <a:ext cx="4569045" cy="2377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270681" y="4724400"/>
            <a:ext cx="3200400" cy="1447800"/>
          </a:xfrm>
          <a:prstGeom prst="rect">
            <a:avLst/>
          </a:prstGeom>
          <a:noFill/>
          <a:ln>
            <a:solidFill>
              <a:srgbClr val="595959"/>
            </a:solidFill>
          </a:ln>
        </p:spPr>
        <p:txBody>
          <a:bodyPr wrap="square" rtlCol="0" anchor="ctr">
            <a:noAutofit/>
          </a:bodyPr>
          <a:lstStyle/>
          <a:p>
            <a:pPr algn="l"/>
            <a:r>
              <a:rPr lang="en-US" sz="1600" dirty="0" smtClean="0">
                <a:solidFill>
                  <a:srgbClr val="595959"/>
                </a:solidFill>
                <a:effectLst/>
              </a:rPr>
              <a:t>The sample of community foundations included in FSG’s 2003 analysis spent 13% of their total operating budget on leadership efforts</a:t>
            </a:r>
          </a:p>
        </p:txBody>
      </p:sp>
      <p:cxnSp>
        <p:nvCxnSpPr>
          <p:cNvPr id="26" name="Straight Arrow Connector 25"/>
          <p:cNvCxnSpPr/>
          <p:nvPr/>
        </p:nvCxnSpPr>
        <p:spPr bwMode="auto">
          <a:xfrm flipV="1">
            <a:off x="3733800" y="3962400"/>
            <a:ext cx="2086241" cy="1219200"/>
          </a:xfrm>
          <a:prstGeom prst="straightConnector1">
            <a:avLst/>
          </a:prstGeom>
          <a:solidFill>
            <a:schemeClr val="accent1"/>
          </a:solidFill>
          <a:ln w="47625" cap="flat" cmpd="sng" algn="ctr">
            <a:solidFill>
              <a:srgbClr val="595959"/>
            </a:solidFill>
            <a:prstDash val="solid"/>
            <a:round/>
            <a:headEnd type="none" w="med" len="med"/>
            <a:tailEnd type="arrow"/>
          </a:ln>
          <a:effectLst/>
          <a:extLst/>
        </p:spPr>
      </p:cxnSp>
      <p:sp>
        <p:nvSpPr>
          <p:cNvPr id="27" name="TextBox 26"/>
          <p:cNvSpPr txBox="1"/>
          <p:nvPr/>
        </p:nvSpPr>
        <p:spPr>
          <a:xfrm>
            <a:off x="5972441" y="2743200"/>
            <a:ext cx="3019159" cy="1484152"/>
          </a:xfrm>
          <a:prstGeom prst="rect">
            <a:avLst/>
          </a:prstGeom>
          <a:noFill/>
          <a:ln>
            <a:solidFill>
              <a:srgbClr val="595959"/>
            </a:solidFill>
          </a:ln>
        </p:spPr>
        <p:txBody>
          <a:bodyPr wrap="square" rtlCol="0" anchor="ctr">
            <a:noAutofit/>
          </a:bodyPr>
          <a:lstStyle/>
          <a:p>
            <a:pPr algn="l"/>
            <a:r>
              <a:rPr lang="en-US" sz="1600" dirty="0" smtClean="0">
                <a:solidFill>
                  <a:srgbClr val="595959"/>
                </a:solidFill>
                <a:effectLst/>
              </a:rPr>
              <a:t>Now community foundations are defining community leadership as a core role and dedicating 20% to 50% of their capacity to such effort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04800" y="4572000"/>
            <a:ext cx="670559" cy="3048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algn="l"/>
            <a:r>
              <a:rPr lang="en-US" sz="1600" b="1" dirty="0" smtClean="0">
                <a:solidFill>
                  <a:srgbClr val="595959"/>
                </a:solidFill>
                <a:effectLst/>
              </a:rPr>
              <a:t>2003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5958841" y="2514600"/>
            <a:ext cx="2042159" cy="3048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algn="l"/>
            <a:r>
              <a:rPr lang="en-US" sz="1600" b="1" dirty="0" smtClean="0">
                <a:solidFill>
                  <a:srgbClr val="595959"/>
                </a:solidFill>
                <a:effectLst/>
              </a:rPr>
              <a:t>2010 and beyond</a:t>
            </a:r>
          </a:p>
        </p:txBody>
      </p:sp>
      <p:sp>
        <p:nvSpPr>
          <p:cNvPr id="30" name="Text Placeholder 3"/>
          <p:cNvSpPr txBox="1">
            <a:spLocks/>
          </p:cNvSpPr>
          <p:nvPr/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3429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74295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indent="0">
              <a:buNone/>
            </a:pPr>
            <a:r>
              <a:rPr lang="en-US" sz="900" dirty="0" smtClean="0"/>
              <a:t>Source:  “Align, Adapt, Aspire”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39778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business model challenge is fitting together past, present, and future choices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28600" y="4984174"/>
            <a:ext cx="1981200" cy="381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800" b="1" dirty="0" smtClean="0">
                <a:solidFill>
                  <a:schemeClr val="tx1"/>
                </a:solidFill>
                <a:effectLst/>
              </a:rPr>
              <a:t>Values</a:t>
            </a:r>
          </a:p>
          <a:p>
            <a:pPr algn="l"/>
            <a:r>
              <a:rPr lang="en-US" sz="1800" dirty="0" smtClean="0">
                <a:solidFill>
                  <a:schemeClr val="tx1"/>
                </a:solidFill>
                <a:effectLst/>
              </a:rPr>
              <a:t>Engage on issues &amp; be an active partner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209800" y="4984174"/>
            <a:ext cx="2117694" cy="381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800" b="1" dirty="0" smtClean="0">
                <a:solidFill>
                  <a:schemeClr val="tx1"/>
                </a:solidFill>
                <a:effectLst/>
              </a:rPr>
              <a:t>Strategy</a:t>
            </a:r>
          </a:p>
          <a:p>
            <a:pPr algn="l"/>
            <a:r>
              <a:rPr lang="en-US" sz="1800" dirty="0" smtClean="0">
                <a:solidFill>
                  <a:schemeClr val="tx1"/>
                </a:solidFill>
                <a:effectLst/>
              </a:rPr>
              <a:t>Serve as an anchor institution</a:t>
            </a:r>
            <a:br>
              <a:rPr lang="en-US" sz="1800" dirty="0" smtClean="0">
                <a:solidFill>
                  <a:schemeClr val="tx1"/>
                </a:solidFill>
                <a:effectLst/>
              </a:rPr>
            </a:br>
            <a:r>
              <a:rPr lang="en-US" sz="1800" dirty="0" smtClean="0">
                <a:solidFill>
                  <a:schemeClr val="tx1"/>
                </a:solidFill>
                <a:effectLst/>
              </a:rPr>
              <a:t>&amp; agent of chang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327494" y="4984174"/>
            <a:ext cx="2225706" cy="381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800" b="1" dirty="0" smtClean="0">
                <a:solidFill>
                  <a:schemeClr val="tx1"/>
                </a:solidFill>
                <a:effectLst/>
              </a:rPr>
              <a:t>Business Model</a:t>
            </a:r>
          </a:p>
          <a:p>
            <a:pPr algn="l"/>
            <a:r>
              <a:rPr lang="en-US" sz="1800" dirty="0" smtClean="0">
                <a:solidFill>
                  <a:schemeClr val="tx1"/>
                </a:solidFill>
                <a:effectLst/>
              </a:rPr>
              <a:t>Grow capacity for leadership and initiativ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705600" y="4984174"/>
            <a:ext cx="2225706" cy="3810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800" b="1" dirty="0" smtClean="0">
                <a:solidFill>
                  <a:schemeClr val="tx1"/>
                </a:solidFill>
                <a:effectLst/>
              </a:rPr>
              <a:t>Culture</a:t>
            </a:r>
          </a:p>
          <a:p>
            <a:pPr algn="l"/>
            <a:r>
              <a:rPr lang="en-US" sz="1800" dirty="0" smtClean="0">
                <a:solidFill>
                  <a:schemeClr val="tx1"/>
                </a:solidFill>
                <a:effectLst/>
              </a:rPr>
              <a:t>Entrepreneurial, connector, activist mindset</a:t>
            </a:r>
          </a:p>
        </p:txBody>
      </p:sp>
      <p:pic>
        <p:nvPicPr>
          <p:cNvPr id="10" name="Picture 2" descr="C:\Users\rgraves\Documents\CF Insights\Business Model Innovations\2013 Project\Publication Drafts\Small Doll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4260274"/>
            <a:ext cx="533400" cy="723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" descr="C:\Users\rgraves\Documents\CF Insights\Business Model Innovations\2013 Project\Publication Drafts\Med Doll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5575" y="3874665"/>
            <a:ext cx="657225" cy="1109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C:\Users\rgraves\Documents\CF Insights\Business Model Innovations\2013 Project\Publication Drafts\Large Doll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8494" y="3520789"/>
            <a:ext cx="914400" cy="1385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5" descr="C:\Users\rgraves\Documents\CF Insights\Business Model Innovations\2013 Project\Publication Drafts\Largest Doll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2715" y="3200400"/>
            <a:ext cx="1166885" cy="1783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2330354" y="1676400"/>
            <a:ext cx="6127845" cy="14478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800" b="1" dirty="0" smtClean="0">
                <a:solidFill>
                  <a:schemeClr val="tx1"/>
                </a:solidFill>
                <a:effectLst/>
              </a:rPr>
              <a:t>Key Figures</a:t>
            </a:r>
          </a:p>
          <a:p>
            <a:pPr algn="l"/>
            <a:endParaRPr lang="en-US" sz="1000" b="1" dirty="0" smtClean="0">
              <a:solidFill>
                <a:schemeClr val="tx1"/>
              </a:solidFill>
              <a:effectLst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  <a:effectLst/>
              </a:rPr>
              <a:t>46% of assets in DAFs; 30% in Discretionary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  <a:effectLst/>
              </a:rPr>
              <a:t>50% of revenue from external gifts/grant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  <a:effectLst/>
              </a:rPr>
              <a:t>41% of costs in leadership role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  <a:effectLst/>
              </a:rPr>
              <a:t>Operating costs at 3.9% of asset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chemeClr val="tx1"/>
              </a:solidFill>
              <a:effectLst/>
            </a:endParaRPr>
          </a:p>
        </p:txBody>
      </p:sp>
      <p:pic>
        <p:nvPicPr>
          <p:cNvPr id="15" name="Picture 2" descr="http://www.santafecf.org/view.image?Id=58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447800"/>
            <a:ext cx="1619250" cy="2571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0203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© CF Insights 2014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>
              <a:defRPr/>
            </a:pPr>
            <a:fld id="{A26CD2A1-8E58-42DC-A4C6-C472304F6F02}" type="slidenum">
              <a:rPr lang="en-US" smtClean="0">
                <a:solidFill>
                  <a:srgbClr val="0064AD"/>
                </a:solidFill>
              </a:rPr>
              <a:pPr algn="ctr">
                <a:defRPr/>
              </a:pPr>
              <a:t>18</a:t>
            </a:fld>
            <a:endParaRPr lang="en-US">
              <a:solidFill>
                <a:srgbClr val="0064AD"/>
              </a:solidFill>
            </a:endParaRPr>
          </a:p>
        </p:txBody>
      </p:sp>
      <p:sp>
        <p:nvSpPr>
          <p:cNvPr id="6" name="Text Box 3"/>
          <p:cNvSpPr txBox="1">
            <a:spLocks noChangeArrowheads="1"/>
          </p:cNvSpPr>
          <p:nvPr/>
        </p:nvSpPr>
        <p:spPr bwMode="auto">
          <a:xfrm>
            <a:off x="1156486" y="570068"/>
            <a:ext cx="692071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>
                <a:solidFill>
                  <a:srgbClr val="0064AD"/>
                </a:solidFill>
                <a:cs typeface="Arial" charset="0"/>
              </a:rPr>
              <a:t>CFs Have Different Models to Support Leadership </a:t>
            </a:r>
            <a:endParaRPr lang="en-US" sz="2000" b="1" dirty="0">
              <a:solidFill>
                <a:srgbClr val="0064AD"/>
              </a:solidFill>
              <a:cs typeface="Arial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3912149"/>
              </p:ext>
            </p:extLst>
          </p:nvPr>
        </p:nvGraphicFramePr>
        <p:xfrm>
          <a:off x="228600" y="1242675"/>
          <a:ext cx="8686800" cy="502920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295223"/>
                <a:gridCol w="4391577"/>
              </a:tblGrid>
              <a:tr h="212606">
                <a:tc>
                  <a:txBody>
                    <a:bodyPr/>
                    <a:lstStyle/>
                    <a:p>
                      <a:pPr algn="l"/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</a:tr>
              <a:tr h="510255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/>
                        <a:t>New Britain</a:t>
                      </a:r>
                    </a:p>
                    <a:p>
                      <a:pPr algn="l"/>
                      <a:r>
                        <a:rPr lang="en-US" sz="1400" b="0" i="1" dirty="0" smtClean="0">
                          <a:solidFill>
                            <a:schemeClr val="tx1"/>
                          </a:solidFill>
                        </a:rPr>
                        <a:t>Connects donors who care with the causes that matter.</a:t>
                      </a:r>
                      <a:endParaRPr lang="en-US" sz="1400" b="0" i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/>
                        <a:t>Rely </a:t>
                      </a:r>
                      <a:r>
                        <a:rPr lang="en-US" sz="1400" baseline="0" dirty="0" smtClean="0"/>
                        <a:t>on substantial unrestricted assets for flexibility in the business model which supports current leadership efforts.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807903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/>
                        <a:t>Boulder</a:t>
                      </a:r>
                    </a:p>
                    <a:p>
                      <a:pPr algn="l"/>
                      <a:r>
                        <a:rPr lang="en-US" sz="1400" i="1" dirty="0" smtClean="0"/>
                        <a:t>Committed</a:t>
                      </a:r>
                      <a:r>
                        <a:rPr lang="en-US" sz="1400" i="1" baseline="0" dirty="0" smtClean="0"/>
                        <a:t> </a:t>
                      </a:r>
                      <a:r>
                        <a:rPr lang="en-US" sz="1400" i="1" dirty="0" smtClean="0"/>
                        <a:t>to transformational community leadership—the practice of foreseeing emerging community needs and leveraging resources and strategic partnerships to make a real difference.</a:t>
                      </a:r>
                      <a:endParaRPr lang="en-US" sz="1400" b="1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/>
                        <a:t>Build programs to support</a:t>
                      </a:r>
                      <a:r>
                        <a:rPr lang="en-US" sz="1400" baseline="0" dirty="0" smtClean="0"/>
                        <a:t> leadership goals and </a:t>
                      </a:r>
                      <a:r>
                        <a:rPr lang="en-US" sz="1400" dirty="0" smtClean="0"/>
                        <a:t>generate</a:t>
                      </a:r>
                      <a:r>
                        <a:rPr lang="en-US" sz="1400" baseline="0" dirty="0" smtClean="0"/>
                        <a:t> considerable revenue for operations through fundraising.  </a:t>
                      </a:r>
                      <a:endParaRPr lang="en-US" sz="1400" b="0" dirty="0"/>
                    </a:p>
                  </a:txBody>
                  <a:tcPr anchor="ctr"/>
                </a:tc>
              </a:tr>
              <a:tr h="807903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/>
                        <a:t>Santa Fe</a:t>
                      </a:r>
                    </a:p>
                    <a:p>
                      <a:pPr algn="l"/>
                      <a:r>
                        <a:rPr lang="en-US" sz="1400" i="1" u="none" dirty="0" smtClean="0"/>
                        <a:t>An anchor institution for values-driven donors, foundations and visionary nonprofits that want to work collectively to achieve measurable positive change.</a:t>
                      </a:r>
                      <a:endParaRPr lang="en-US" sz="1400" b="1" i="1" u="none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/>
                        <a:t>Narrow to a focused portfolio</a:t>
                      </a:r>
                      <a:r>
                        <a:rPr lang="en-US" sz="1400" baseline="0" dirty="0" smtClean="0"/>
                        <a:t> of fee-based products that can generate a surplus and engage in fundraising to support leadership capacity.</a:t>
                      </a:r>
                      <a:endParaRPr lang="en-US" sz="1400" b="0" dirty="0" smtClean="0"/>
                    </a:p>
                  </a:txBody>
                  <a:tcPr anchor="ctr"/>
                </a:tc>
              </a:tr>
              <a:tr h="659079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/>
                        <a:t>Berkshire</a:t>
                      </a:r>
                      <a:r>
                        <a:rPr lang="en-US" sz="1400" b="1" baseline="0" dirty="0" smtClean="0"/>
                        <a:t> Taconic</a:t>
                      </a:r>
                    </a:p>
                    <a:p>
                      <a:pPr algn="l"/>
                      <a:r>
                        <a:rPr lang="en-US" sz="1400" b="0" i="1" baseline="0" dirty="0" smtClean="0">
                          <a:solidFill>
                            <a:schemeClr val="tx1"/>
                          </a:solidFill>
                        </a:rPr>
                        <a:t>You can make a difference. We can help.</a:t>
                      </a:r>
                      <a:endParaRPr lang="en-US" sz="1400" b="0" i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aseline="0" dirty="0" smtClean="0"/>
                        <a:t>Grow community philanthropy through diverse product offerings but  in a disciplined way, having criteria for which donor relationships and initiative opportunities warrant an investment.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510255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/>
                        <a:t>Vermont</a:t>
                      </a:r>
                    </a:p>
                    <a:p>
                      <a:pPr algn="l"/>
                      <a:r>
                        <a:rPr lang="en-US" sz="1400" b="0" i="1" dirty="0" smtClean="0">
                          <a:solidFill>
                            <a:schemeClr val="tx1"/>
                          </a:solidFill>
                        </a:rPr>
                        <a:t>The Community Foundation plus you.</a:t>
                      </a:r>
                      <a:r>
                        <a:rPr lang="en-US" sz="1400" b="0" i="1" baseline="0" dirty="0" smtClean="0">
                          <a:solidFill>
                            <a:schemeClr val="tx1"/>
                          </a:solidFill>
                        </a:rPr>
                        <a:t> Better together.</a:t>
                      </a:r>
                      <a:endParaRPr lang="en-US" sz="1400" b="0" i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 smtClean="0"/>
                        <a:t>Utilize</a:t>
                      </a:r>
                      <a:r>
                        <a:rPr lang="en-US" sz="1400" baseline="0" dirty="0" smtClean="0"/>
                        <a:t> partnerships with supporting organizations and donors to lead on critical issues in the state.</a:t>
                      </a:r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1369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© CF Insights 2014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>
              <a:defRPr/>
            </a:pPr>
            <a:fld id="{ED57861B-16C8-4F94-9885-F38128943F33}" type="slidenum">
              <a:rPr lang="en-US" smtClean="0">
                <a:solidFill>
                  <a:srgbClr val="0064AD"/>
                </a:solidFill>
              </a:rPr>
              <a:pPr algn="ctr">
                <a:defRPr/>
              </a:pPr>
              <a:t>19</a:t>
            </a:fld>
            <a:endParaRPr lang="en-US">
              <a:solidFill>
                <a:srgbClr val="0064AD"/>
              </a:solidFill>
            </a:endParaRPr>
          </a:p>
        </p:txBody>
      </p:sp>
      <p:sp>
        <p:nvSpPr>
          <p:cNvPr id="13" name="Text Box 3"/>
          <p:cNvSpPr txBox="1">
            <a:spLocks noChangeArrowheads="1"/>
          </p:cNvSpPr>
          <p:nvPr/>
        </p:nvSpPr>
        <p:spPr bwMode="auto">
          <a:xfrm>
            <a:off x="314325" y="697468"/>
            <a:ext cx="837406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0070C0"/>
                </a:solidFill>
                <a:cs typeface="Arial" charset="0"/>
              </a:rPr>
              <a:t>Each Community Foundation Relies on a Different Base of Revenues to Support Operations, Particularly Expanded Leadership Roles</a:t>
            </a:r>
            <a:endParaRPr lang="en-US" b="1" dirty="0">
              <a:solidFill>
                <a:srgbClr val="808080"/>
              </a:solidFill>
              <a:cs typeface="Arial" charset="0"/>
            </a:endParaRPr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2182371989"/>
              </p:ext>
            </p:extLst>
          </p:nvPr>
        </p:nvGraphicFramePr>
        <p:xfrm>
          <a:off x="228600" y="1499581"/>
          <a:ext cx="8839200" cy="4318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Box 1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8200" y="1492099"/>
            <a:ext cx="68580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0000"/>
                </a:solidFill>
                <a:cs typeface="Arial" charset="0"/>
              </a:rPr>
              <a:t>% of </a:t>
            </a:r>
            <a:r>
              <a:rPr lang="en-US" sz="1400" b="1" dirty="0" smtClean="0">
                <a:solidFill>
                  <a:srgbClr val="000000"/>
                </a:solidFill>
                <a:cs typeface="Arial" charset="0"/>
              </a:rPr>
              <a:t>Total Revenue by Source</a:t>
            </a:r>
            <a:endParaRPr lang="en-US" sz="14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74" y="6096000"/>
            <a:ext cx="42683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i="1" dirty="0" smtClean="0">
                <a:solidFill>
                  <a:srgbClr val="000000"/>
                </a:solidFill>
                <a:cs typeface="Arial" charset="0"/>
              </a:rPr>
              <a:t>Other income for Foundation B is revenue from programs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200" i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3689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Motivates You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615" y="2088105"/>
            <a:ext cx="3493827" cy="4070445"/>
          </a:xfrm>
        </p:spPr>
        <p:txBody>
          <a:bodyPr/>
          <a:lstStyle/>
          <a:p>
            <a:pPr marL="114300" indent="0">
              <a:buNone/>
            </a:pPr>
            <a:r>
              <a:rPr lang="en-US" sz="2400" dirty="0" smtClean="0"/>
              <a:t>Write down your aspirations for your community foundation.  </a:t>
            </a:r>
            <a:r>
              <a:rPr lang="en-US" sz="2400" dirty="0"/>
              <a:t/>
            </a:r>
            <a:br>
              <a:rPr lang="en-US" sz="2400" dirty="0"/>
            </a:br>
            <a:endParaRPr lang="en-US" sz="2400" dirty="0" smtClean="0"/>
          </a:p>
          <a:p>
            <a:pPr marL="114300" indent="0">
              <a:buNone/>
            </a:pPr>
            <a:r>
              <a:rPr lang="en-US" sz="2400" dirty="0" smtClean="0"/>
              <a:t>What do you hope that your community foundation becomes in your community over the next 20 years?</a:t>
            </a:r>
            <a:endParaRPr lang="en-US" sz="2400" dirty="0"/>
          </a:p>
          <a:p>
            <a:endParaRPr lang="en-US" sz="2400" dirty="0"/>
          </a:p>
        </p:txBody>
      </p:sp>
      <p:pic>
        <p:nvPicPr>
          <p:cNvPr id="6" name="Picture 5" descr="seed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11472" y="-1536310"/>
            <a:ext cx="4092513" cy="7248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806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can you see about your own CF through by learning across the network and beyond?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641445" y="1719618"/>
            <a:ext cx="7670042" cy="4558351"/>
          </a:xfrm>
          <a:prstGeom prst="round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n-US" sz="2400" b="1" dirty="0" smtClean="0"/>
              <a:t>What are your unique assets, community characteristics, or choices?</a:t>
            </a:r>
            <a:endParaRPr lang="en-US" sz="2400" b="1" dirty="0"/>
          </a:p>
          <a:p>
            <a:pPr marL="285750" indent="-285750">
              <a:buFont typeface="Arial" pitchFamily="34" charset="0"/>
              <a:buChar char="•"/>
            </a:pPr>
            <a:endParaRPr lang="en-US" sz="2400" b="1" dirty="0"/>
          </a:p>
          <a:p>
            <a:pPr marL="285750" indent="-285750">
              <a:buFont typeface="Arial" pitchFamily="34" charset="0"/>
              <a:buChar char="•"/>
            </a:pPr>
            <a:r>
              <a:rPr lang="en-US" sz="2400" b="1" dirty="0" smtClean="0"/>
              <a:t>How do you make choices about products, allocating costs/organizational capacity, and revenues to fund your work?  </a:t>
            </a:r>
            <a:endParaRPr lang="en-US" sz="2400" b="1" dirty="0"/>
          </a:p>
          <a:p>
            <a:pPr marL="285750" indent="-285750">
              <a:buFont typeface="Arial" pitchFamily="34" charset="0"/>
              <a:buChar char="•"/>
            </a:pPr>
            <a:endParaRPr lang="en-US" sz="2400" b="1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sz="2400" b="1" dirty="0" smtClean="0"/>
              <a:t>What values and goals are driving your business model choices?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2400" b="1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sz="2400" b="1" dirty="0" smtClean="0"/>
              <a:t>Who might you learn from within the network?</a:t>
            </a:r>
          </a:p>
        </p:txBody>
      </p:sp>
    </p:spTree>
    <p:extLst>
      <p:ext uri="{BB962C8B-B14F-4D97-AF65-F5344CB8AC3E}">
        <p14:creationId xmlns:p14="http://schemas.microsoft.com/office/powerpoint/2010/main" val="2187779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2800" i="1" dirty="0" smtClean="0"/>
              <a:t>Washington State Community Foundations</a:t>
            </a:r>
          </a:p>
          <a:p>
            <a:r>
              <a:rPr lang="en-US" sz="1600" b="0" i="1" dirty="0" smtClean="0"/>
              <a:t>Based on FY 2014 CF Insights data</a:t>
            </a:r>
            <a:endParaRPr lang="en-US" sz="1600" b="0" i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Prepared for:</a:t>
            </a:r>
          </a:p>
          <a:p>
            <a:endParaRPr lang="en-US" dirty="0" smtClean="0"/>
          </a:p>
          <a:p>
            <a:r>
              <a:rPr lang="en-US" dirty="0" smtClean="0"/>
              <a:t>November 2</a:t>
            </a:r>
            <a:r>
              <a:rPr lang="en-US" baseline="30000" dirty="0" smtClean="0"/>
              <a:t>nd</a:t>
            </a:r>
            <a:r>
              <a:rPr lang="en-US" dirty="0" smtClean="0"/>
              <a:t> &amp; 3</a:t>
            </a:r>
            <a:r>
              <a:rPr lang="en-US" baseline="30000" dirty="0" smtClean="0"/>
              <a:t>rd</a:t>
            </a:r>
            <a:r>
              <a:rPr lang="en-US" dirty="0" smtClean="0"/>
              <a:t>, 2015</a:t>
            </a:r>
            <a:endParaRPr lang="en-US" dirty="0"/>
          </a:p>
        </p:txBody>
      </p:sp>
      <p:pic>
        <p:nvPicPr>
          <p:cNvPr id="3074" name="Picture 2" descr="https://philanthropynw.org/sites/all/themes/custom/pnw/log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7400" y="3505200"/>
            <a:ext cx="1143000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2931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29952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54472" y="631407"/>
            <a:ext cx="8686800" cy="685800"/>
          </a:xfrm>
        </p:spPr>
        <p:txBody>
          <a:bodyPr/>
          <a:lstStyle/>
          <a:p>
            <a:r>
              <a:rPr lang="en-US" dirty="0" smtClean="0"/>
              <a:t>WA NETWORK: DIFFERENCES IN ASSET COMPOSITION LEAD TO DIFFERENCES IN STRATEGY AND BUSINESS MODEL CHOICE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/>
        <p:txBody>
          <a:bodyPr/>
          <a:lstStyle/>
          <a:p>
            <a:pPr algn="r">
              <a:defRPr/>
            </a:pPr>
            <a:r>
              <a:rPr lang="en-US" dirty="0">
                <a:solidFill>
                  <a:srgbClr val="000000"/>
                </a:solidFill>
              </a:rPr>
              <a:t>© CF Insights  201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/>
        <p:txBody>
          <a:bodyPr/>
          <a:lstStyle/>
          <a:p>
            <a:pPr algn="ctr">
              <a:defRPr/>
            </a:pPr>
            <a:fld id="{B6729DED-6A4C-466E-8433-228AF169F93D}" type="slidenum">
              <a:rPr lang="en-US" smtClean="0">
                <a:solidFill>
                  <a:srgbClr val="0064AD"/>
                </a:solidFill>
              </a:rPr>
              <a:pPr algn="ctr">
                <a:defRPr/>
              </a:pPr>
              <a:t>22</a:t>
            </a:fld>
            <a:endParaRPr lang="en-US" dirty="0">
              <a:solidFill>
                <a:srgbClr val="0064AD"/>
              </a:solidFill>
            </a:endParaRPr>
          </a:p>
        </p:txBody>
      </p:sp>
      <p:graphicFrame>
        <p:nvGraphicFramePr>
          <p:cNvPr id="7" name="Chart 6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71575351"/>
              </p:ext>
            </p:extLst>
          </p:nvPr>
        </p:nvGraphicFramePr>
        <p:xfrm>
          <a:off x="609600" y="1371600"/>
          <a:ext cx="8458200" cy="472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8" name="Text Placeholder 3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263654" y="6012088"/>
            <a:ext cx="86868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800" b="1">
                <a:solidFill>
                  <a:schemeClr val="tx2"/>
                </a:solidFill>
                <a:latin typeface="+mn-lt"/>
                <a:ea typeface="+mn-ea"/>
                <a:cs typeface="Calibri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en-US" kern="0" dirty="0" smtClean="0"/>
              <a:t>2012 PRESENTATION, ~2011 DATA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1722802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  <a:cs typeface="Arial" charset="0"/>
              </a:rPr>
              <a:t>© CF Insights 2015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4282904"/>
              </p:ext>
            </p:extLst>
          </p:nvPr>
        </p:nvGraphicFramePr>
        <p:xfrm>
          <a:off x="152400" y="609600"/>
          <a:ext cx="8839198" cy="5621191"/>
        </p:xfrm>
        <a:graphic>
          <a:graphicData uri="http://schemas.openxmlformats.org/drawingml/2006/table">
            <a:tbl>
              <a:tblPr firstRow="1" bandCol="1">
                <a:tableStyleId>{69C7853C-536D-4A76-A0AE-DD22124D55A5}</a:tableStyleId>
              </a:tblPr>
              <a:tblGrid>
                <a:gridCol w="876270"/>
                <a:gridCol w="549407"/>
                <a:gridCol w="938861"/>
                <a:gridCol w="1077952"/>
                <a:gridCol w="653725"/>
                <a:gridCol w="980587"/>
                <a:gridCol w="1112724"/>
                <a:gridCol w="730225"/>
                <a:gridCol w="624049"/>
                <a:gridCol w="838200"/>
                <a:gridCol w="457198"/>
              </a:tblGrid>
              <a:tr h="203732"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Foundation</a:t>
                      </a:r>
                      <a:endParaRPr lang="en-US" sz="900" b="0" i="0" u="none" strike="noStrike" dirty="0">
                        <a:solidFill>
                          <a:srgbClr val="FFFFFF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Year Founded</a:t>
                      </a:r>
                      <a:endParaRPr lang="en-US" sz="900" b="0" i="0" u="none" strike="noStrike" dirty="0">
                        <a:solidFill>
                          <a:srgbClr val="FFFFFF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Population of Area Served</a:t>
                      </a:r>
                      <a:endParaRPr lang="en-US" sz="900" b="0" i="0" u="none" strike="noStrike" dirty="0">
                        <a:solidFill>
                          <a:srgbClr val="FFFFFF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Total Gross Assets per Audit(s)</a:t>
                      </a:r>
                      <a:endParaRPr lang="en-US" sz="900" b="0" i="0" u="none" strike="noStrike">
                        <a:solidFill>
                          <a:srgbClr val="FFFFFF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Assets per Capita</a:t>
                      </a:r>
                      <a:endParaRPr lang="en-US" sz="900" b="0" i="0" u="none" strike="noStrike">
                        <a:solidFill>
                          <a:srgbClr val="FFFFFF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 Total Foundation Gifts ($) </a:t>
                      </a:r>
                      <a:endParaRPr lang="en-US" sz="900" b="0" i="0" u="none" strike="noStrike">
                        <a:solidFill>
                          <a:srgbClr val="FFFFFF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 Total Foundation Grants ($) </a:t>
                      </a:r>
                      <a:endParaRPr lang="en-US" sz="900" b="0" i="0" u="none" strike="noStrike">
                        <a:solidFill>
                          <a:srgbClr val="FFFFFF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 Grants per Capita </a:t>
                      </a:r>
                      <a:endParaRPr lang="en-US" sz="900" b="0" i="0" u="none" strike="noStrike">
                        <a:solidFill>
                          <a:srgbClr val="FFFFFF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 smtClean="0">
                          <a:effectLst/>
                          <a:latin typeface="ITC Franklin Gothic Book" panose="020B0504030503020204" pitchFamily="34" charset="0"/>
                        </a:rPr>
                        <a:t>Distribution </a:t>
                      </a:r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Rate</a:t>
                      </a:r>
                      <a:endParaRPr lang="en-US" sz="900" b="0" i="0" u="none" strike="noStrike" dirty="0">
                        <a:solidFill>
                          <a:srgbClr val="FFFFFF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DAF Assets</a:t>
                      </a:r>
                      <a:endParaRPr lang="en-US" sz="900" b="0" i="0" u="none" strike="noStrike" dirty="0">
                        <a:solidFill>
                          <a:srgbClr val="FFFFFF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% of Assets in DAFs</a:t>
                      </a:r>
                      <a:endParaRPr lang="en-US" sz="900" b="0" i="0" u="none" strike="noStrike" dirty="0">
                        <a:solidFill>
                          <a:srgbClr val="FFFFFF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ctr"/>
                </a:tc>
              </a:tr>
              <a:tr h="40049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Blue Mountain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198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                                       68,000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38,580,09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567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1,471,146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1,942,26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29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5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705,546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2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</a:tr>
              <a:tr h="40049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Columbia </a:t>
                      </a:r>
                      <a:r>
                        <a:rPr lang="en-US" sz="900" u="none" strike="noStrike" dirty="0" smtClean="0">
                          <a:effectLst/>
                          <a:latin typeface="ITC Franklin Gothic Book" panose="020B0504030503020204" pitchFamily="34" charset="0"/>
                        </a:rPr>
                        <a:t>Basin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1996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                                     135,000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7,439,469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5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175,127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550,14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7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178,45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2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</a:tr>
              <a:tr h="40049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 smtClean="0">
                          <a:effectLst/>
                          <a:latin typeface="ITC Franklin Gothic Book" panose="020B0504030503020204" pitchFamily="34" charset="0"/>
                        </a:rPr>
                        <a:t>Everet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200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                                     746,000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14,168,799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19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1,453,02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1,027,82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7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2,793,349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20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</a:tr>
              <a:tr h="40049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 smtClean="0">
                          <a:effectLst/>
                          <a:latin typeface="ITC Franklin Gothic Book" panose="020B0504030503020204" pitchFamily="34" charset="0"/>
                        </a:rPr>
                        <a:t>Kitsap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199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                                     250,000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4,815,48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19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362,13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388,82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8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2,397,95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50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</a:tr>
              <a:tr h="40049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North Central </a:t>
                      </a:r>
                      <a:r>
                        <a:rPr lang="en-US" sz="900" u="none" strike="noStrike" dirty="0" smtClean="0">
                          <a:effectLst/>
                          <a:latin typeface="ITC Franklin Gothic Book" panose="020B0504030503020204" pitchFamily="34" charset="0"/>
                        </a:rPr>
                        <a:t>WA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198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                                     125,000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58,986,55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47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4,528,07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3,105,38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2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5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6,830,62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12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</a:tr>
              <a:tr h="40049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Orcas </a:t>
                      </a:r>
                      <a:r>
                        <a:rPr lang="en-US" sz="900" u="none" strike="noStrike" dirty="0" smtClean="0">
                          <a:effectLst/>
                          <a:latin typeface="ITC Franklin Gothic Book" panose="020B0504030503020204" pitchFamily="34" charset="0"/>
                        </a:rPr>
                        <a:t>Island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199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                                         5,00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6,975,29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1,39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1,380,866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1,177,72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236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17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924,66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13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</a:tr>
              <a:tr h="40049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Seattl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194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                                  2,007,44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816,800,92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407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76,519,80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87,184,15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43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11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264,128,597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39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</a:tr>
              <a:tr h="40049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 smtClean="0">
                          <a:effectLst/>
                          <a:latin typeface="ITC Franklin Gothic Book" panose="020B0504030503020204" pitchFamily="34" charset="0"/>
                        </a:rPr>
                        <a:t>Skagi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199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                                     125,00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4,800,00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3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170,00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253,50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5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850,00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18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</a:tr>
              <a:tr h="40049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South Puget </a:t>
                      </a:r>
                      <a:r>
                        <a:rPr lang="en-US" sz="900" u="none" strike="noStrike" dirty="0" smtClean="0">
                          <a:effectLst/>
                          <a:latin typeface="ITC Franklin Gothic Book" panose="020B0504030503020204" pitchFamily="34" charset="0"/>
                        </a:rPr>
                        <a:t>Sound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1989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                                     397,966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17,293,00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4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691,35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850,229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5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1,608,40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9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</a:tr>
              <a:tr h="40049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Southwest </a:t>
                      </a:r>
                      <a:r>
                        <a:rPr lang="en-US" sz="900" u="none" strike="noStrike" dirty="0" smtClean="0">
                          <a:effectLst/>
                          <a:latin typeface="ITC Franklin Gothic Book" panose="020B0504030503020204" pitchFamily="34" charset="0"/>
                        </a:rPr>
                        <a:t>WA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198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                                     560,000 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83,614,999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149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9,784,37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7,830,419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1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9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24,195,99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29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</a:tr>
              <a:tr h="40049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Tacoma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1981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                                     832,000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112,730,597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13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15,965,56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5,219,242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6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5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17,941,493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17%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</a:tr>
              <a:tr h="40049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 smtClean="0">
                          <a:effectLst/>
                          <a:latin typeface="ITC Franklin Gothic Book" panose="020B0504030503020204" pitchFamily="34" charset="0"/>
                        </a:rPr>
                        <a:t>Whatcom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199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                                     208,351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20,377,96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98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4,507,878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4,288,469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2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21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4,559,48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22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</a:tr>
              <a:tr h="400498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Yakima </a:t>
                      </a:r>
                      <a:r>
                        <a:rPr lang="en-US" sz="900" u="none" strike="noStrike" dirty="0" smtClean="0">
                          <a:effectLst/>
                          <a:latin typeface="ITC Franklin Gothic Book" panose="020B0504030503020204" pitchFamily="34" charset="0"/>
                        </a:rPr>
                        <a:t>Valley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3237" marR="3237" marT="3237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200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                                     243,231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62,460,20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257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753,63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2,359,33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>
                          <a:effectLst/>
                          <a:latin typeface="ITC Franklin Gothic Book" panose="020B0504030503020204" pitchFamily="34" charset="0"/>
                        </a:rPr>
                        <a:t>$1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4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$10,235,32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effectLst/>
                          <a:latin typeface="ITC Franklin Gothic Book" panose="020B0504030503020204" pitchFamily="34" charset="0"/>
                        </a:rPr>
                        <a:t>16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ITC Franklin Gothic Book" panose="020B0504030503020204" pitchFamily="34" charset="0"/>
                      </a:endParaRPr>
                    </a:p>
                  </a:txBody>
                  <a:tcPr marL="0" marR="45720" marT="0" marB="0" anchor="b"/>
                </a:tc>
              </a:tr>
            </a:tbl>
          </a:graphicData>
        </a:graphic>
      </p:graphicFrame>
      <p:sp>
        <p:nvSpPr>
          <p:cNvPr id="8" name="Slide Number Placeholder 31"/>
          <p:cNvSpPr txBox="1">
            <a:spLocks/>
          </p:cNvSpPr>
          <p:nvPr/>
        </p:nvSpPr>
        <p:spPr>
          <a:xfrm>
            <a:off x="3505200" y="65833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ITC Franklin Gothic Book" panose="020B05040305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729DED-6A4C-466E-8433-228AF169F93D}" type="slidenum">
              <a:rPr lang="en-US" b="1" smtClean="0">
                <a:solidFill>
                  <a:srgbClr val="0064AD"/>
                </a:solidFill>
              </a:rPr>
              <a:pPr/>
              <a:t>23</a:t>
            </a:fld>
            <a:endParaRPr lang="en-US" b="1" dirty="0">
              <a:solidFill>
                <a:srgbClr val="0064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181722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  <a:cs typeface="Arial" charset="0"/>
              </a:rPr>
              <a:t>© CF Insights 2015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" name="Rectangle 24"/>
          <p:cNvSpPr>
            <a:spLocks noChangeArrowheads="1"/>
          </p:cNvSpPr>
          <p:nvPr/>
        </p:nvSpPr>
        <p:spPr bwMode="auto">
          <a:xfrm>
            <a:off x="592931" y="609600"/>
            <a:ext cx="803433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914400"/>
            <a:r>
              <a:rPr lang="en-US" sz="2000" b="1" dirty="0" err="1" smtClean="0">
                <a:solidFill>
                  <a:srgbClr val="0064AD"/>
                </a:solidFill>
                <a:latin typeface="ITC Franklin Gothic Book" panose="020B0504030503020204" pitchFamily="34" charset="0"/>
              </a:rPr>
              <a:t>Grantmaking</a:t>
            </a:r>
            <a:endParaRPr lang="en-US" sz="1200" b="1" dirty="0">
              <a:solidFill>
                <a:srgbClr val="0064AD"/>
              </a:solidFill>
              <a:latin typeface="ITC Franklin Gothic Book" panose="020B0504030503020204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7953470"/>
              </p:ext>
            </p:extLst>
          </p:nvPr>
        </p:nvGraphicFramePr>
        <p:xfrm>
          <a:off x="-1" y="4800599"/>
          <a:ext cx="8839201" cy="1524001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609601"/>
                <a:gridCol w="685800"/>
                <a:gridCol w="685800"/>
                <a:gridCol w="685800"/>
                <a:gridCol w="685800"/>
                <a:gridCol w="685800"/>
                <a:gridCol w="685800"/>
                <a:gridCol w="685800"/>
                <a:gridCol w="685800"/>
                <a:gridCol w="685800"/>
                <a:gridCol w="685800"/>
                <a:gridCol w="685800"/>
                <a:gridCol w="685800"/>
              </a:tblGrid>
              <a:tr h="493059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DAF Grants</a:t>
                      </a:r>
                      <a:endParaRPr lang="en-US" sz="11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71k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390k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320k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658k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391k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56M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129k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229k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4.5M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1.0M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2.0M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857k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690284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Non-DAF</a:t>
                      </a:r>
                      <a:r>
                        <a:rPr lang="en-US" sz="1100" baseline="0" dirty="0" smtClean="0"/>
                        <a:t> Grants</a:t>
                      </a:r>
                      <a:endParaRPr lang="en-US" sz="11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1.9M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638k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69k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2.4M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787k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31.2M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125k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621k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3.3M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4.2M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2.3M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 smtClean="0"/>
                        <a:t>$1.5M</a:t>
                      </a:r>
                      <a:endParaRPr lang="en-US" sz="1100" kern="12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40658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Total</a:t>
                      </a:r>
                      <a:endParaRPr lang="en-US" sz="11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$1.9M</a:t>
                      </a:r>
                      <a:endParaRPr lang="en-US" sz="11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$1.0M</a:t>
                      </a:r>
                      <a:endParaRPr lang="en-US" sz="11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$388k</a:t>
                      </a:r>
                      <a:endParaRPr lang="en-US" sz="11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$3.1M</a:t>
                      </a:r>
                      <a:endParaRPr lang="en-US" sz="11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$1.2M</a:t>
                      </a:r>
                      <a:endParaRPr lang="en-US" sz="11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$87.2M</a:t>
                      </a:r>
                      <a:endParaRPr lang="en-US" sz="11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$254k</a:t>
                      </a:r>
                      <a:endParaRPr lang="en-US" sz="11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$850k</a:t>
                      </a:r>
                      <a:endParaRPr lang="en-US" sz="11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$7.8M</a:t>
                      </a:r>
                      <a:endParaRPr lang="en-US" sz="11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$5.2M</a:t>
                      </a:r>
                      <a:endParaRPr lang="en-US" sz="11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$4.3M</a:t>
                      </a:r>
                      <a:endParaRPr lang="en-US" sz="11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$2.4M</a:t>
                      </a:r>
                      <a:endParaRPr lang="en-US" sz="1100" dirty="0">
                        <a:solidFill>
                          <a:schemeClr val="bg2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143000" y="6477000"/>
            <a:ext cx="2819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800" dirty="0" smtClean="0">
                <a:solidFill>
                  <a:prstClr val="black"/>
                </a:solidFill>
                <a:latin typeface="ITC Franklin Gothic Book" panose="020B0504030503020204" pitchFamily="34" charset="0"/>
              </a:rPr>
              <a:t>*DAF </a:t>
            </a:r>
            <a:r>
              <a:rPr lang="en-US" sz="800" dirty="0" err="1" smtClean="0">
                <a:solidFill>
                  <a:prstClr val="black"/>
                </a:solidFill>
                <a:latin typeface="ITC Franklin Gothic Book" panose="020B0504030503020204" pitchFamily="34" charset="0"/>
              </a:rPr>
              <a:t>grantmaking</a:t>
            </a:r>
            <a:r>
              <a:rPr lang="en-US" sz="800" dirty="0" smtClean="0">
                <a:solidFill>
                  <a:prstClr val="black"/>
                </a:solidFill>
                <a:latin typeface="ITC Franklin Gothic Book" panose="020B0504030503020204" pitchFamily="34" charset="0"/>
              </a:rPr>
              <a:t> information not available on Columbia Basin</a:t>
            </a:r>
            <a:endParaRPr lang="en-US" sz="800" dirty="0">
              <a:solidFill>
                <a:prstClr val="black"/>
              </a:solidFill>
              <a:latin typeface="ITC Franklin Gothic Book" panose="020B0504030503020204" pitchFamily="34" charset="0"/>
            </a:endParaRP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8750445"/>
              </p:ext>
            </p:extLst>
          </p:nvPr>
        </p:nvGraphicFramePr>
        <p:xfrm>
          <a:off x="457200" y="914400"/>
          <a:ext cx="8381999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Slide Number Placeholder 31"/>
          <p:cNvSpPr txBox="1">
            <a:spLocks/>
          </p:cNvSpPr>
          <p:nvPr/>
        </p:nvSpPr>
        <p:spPr>
          <a:xfrm>
            <a:off x="3505200" y="65833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ITC Franklin Gothic Book" panose="020B05040305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729DED-6A4C-466E-8433-228AF169F93D}" type="slidenum">
              <a:rPr lang="en-US" b="1" smtClean="0">
                <a:solidFill>
                  <a:srgbClr val="0064AD"/>
                </a:solidFill>
              </a:rPr>
              <a:pPr/>
              <a:t>24</a:t>
            </a:fld>
            <a:endParaRPr lang="en-US" b="1" dirty="0">
              <a:solidFill>
                <a:srgbClr val="0064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5296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  <a:cs typeface="Arial" charset="0"/>
              </a:rPr>
              <a:t>© CF Insights 2015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Rectangle 24"/>
          <p:cNvSpPr>
            <a:spLocks noChangeArrowheads="1"/>
          </p:cNvSpPr>
          <p:nvPr/>
        </p:nvSpPr>
        <p:spPr bwMode="auto">
          <a:xfrm>
            <a:off x="592931" y="675389"/>
            <a:ext cx="803433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914400"/>
            <a:r>
              <a:rPr lang="en-US" sz="2000" b="1" dirty="0" smtClean="0">
                <a:solidFill>
                  <a:srgbClr val="0064AD"/>
                </a:solidFill>
                <a:latin typeface="ITC Franklin Gothic Book" panose="020B0504030503020204" pitchFamily="34" charset="0"/>
              </a:rPr>
              <a:t>Leadership</a:t>
            </a:r>
            <a:endParaRPr lang="en-US" sz="1200" b="1" dirty="0">
              <a:solidFill>
                <a:srgbClr val="0064AD"/>
              </a:solidFill>
              <a:latin typeface="ITC Franklin Gothic Book" panose="020B0504030503020204" pitchFamily="34" charset="0"/>
            </a:endParaRPr>
          </a:p>
        </p:txBody>
      </p:sp>
      <p:sp>
        <p:nvSpPr>
          <p:cNvPr id="10" name="Rectangle 24"/>
          <p:cNvSpPr>
            <a:spLocks noChangeArrowheads="1"/>
          </p:cNvSpPr>
          <p:nvPr/>
        </p:nvSpPr>
        <p:spPr bwMode="auto">
          <a:xfrm>
            <a:off x="592931" y="959708"/>
            <a:ext cx="803433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914400"/>
            <a:r>
              <a:rPr lang="en-US" b="1" i="1" dirty="0">
                <a:solidFill>
                  <a:srgbClr val="366092">
                    <a:lumMod val="75000"/>
                  </a:srgbClr>
                </a:solidFill>
                <a:latin typeface="ITC Franklin Gothic Book" panose="020B0504030503020204" pitchFamily="34" charset="0"/>
              </a:rPr>
              <a:t>How many community foundations in Washington participate in</a:t>
            </a:r>
            <a:r>
              <a:rPr lang="en-US" b="1" i="1" dirty="0" smtClean="0">
                <a:solidFill>
                  <a:srgbClr val="366092">
                    <a:lumMod val="75000"/>
                  </a:srgbClr>
                </a:solidFill>
                <a:latin typeface="ITC Franklin Gothic Book" panose="020B0504030503020204" pitchFamily="34" charset="0"/>
              </a:rPr>
              <a:t>…</a:t>
            </a:r>
            <a:endParaRPr lang="en-US" b="1" i="1" dirty="0">
              <a:solidFill>
                <a:srgbClr val="366092">
                  <a:lumMod val="75000"/>
                </a:srgbClr>
              </a:solidFill>
              <a:latin typeface="ITC Franklin Gothic Book" panose="020B0504030503020204" pitchFamily="34" charset="0"/>
            </a:endParaRPr>
          </a:p>
        </p:txBody>
      </p:sp>
      <p:sp>
        <p:nvSpPr>
          <p:cNvPr id="12" name="Rectangle 24"/>
          <p:cNvSpPr>
            <a:spLocks noChangeArrowheads="1"/>
          </p:cNvSpPr>
          <p:nvPr/>
        </p:nvSpPr>
        <p:spPr bwMode="auto">
          <a:xfrm>
            <a:off x="147451" y="2570548"/>
            <a:ext cx="401716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914400"/>
            <a:r>
              <a:rPr lang="en-US" sz="1600" b="1" i="1" dirty="0">
                <a:solidFill>
                  <a:srgbClr val="366092">
                    <a:lumMod val="75000"/>
                  </a:srgbClr>
                </a:solidFill>
                <a:latin typeface="ITC Franklin Gothic Book" panose="020B0504030503020204" pitchFamily="34" charset="0"/>
              </a:rPr>
              <a:t>Convening and facilitating?</a:t>
            </a:r>
          </a:p>
        </p:txBody>
      </p:sp>
      <p:sp>
        <p:nvSpPr>
          <p:cNvPr id="19" name="Right Arrow 18"/>
          <p:cNvSpPr/>
          <p:nvPr/>
        </p:nvSpPr>
        <p:spPr>
          <a:xfrm>
            <a:off x="4164620" y="2608648"/>
            <a:ext cx="2007580" cy="262354"/>
          </a:xfrm>
          <a:prstGeom prst="right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b="1">
              <a:ln w="18000">
                <a:solidFill>
                  <a:srgbClr val="953734">
                    <a:satMod val="140000"/>
                  </a:srgbClr>
                </a:solidFill>
                <a:prstDash val="solid"/>
                <a:miter lim="800000"/>
              </a:ln>
              <a:solidFill>
                <a:srgbClr val="E36C09"/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endParaRPr>
          </a:p>
        </p:txBody>
      </p:sp>
      <p:sp>
        <p:nvSpPr>
          <p:cNvPr id="32" name="Oval 31"/>
          <p:cNvSpPr/>
          <p:nvPr/>
        </p:nvSpPr>
        <p:spPr>
          <a:xfrm>
            <a:off x="6629400" y="2396925"/>
            <a:ext cx="685800" cy="6858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Rectangle 24"/>
          <p:cNvSpPr>
            <a:spLocks noChangeArrowheads="1"/>
          </p:cNvSpPr>
          <p:nvPr/>
        </p:nvSpPr>
        <p:spPr bwMode="auto">
          <a:xfrm>
            <a:off x="147451" y="3367273"/>
            <a:ext cx="401716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914400"/>
            <a:r>
              <a:rPr lang="en-US" sz="1600" b="1" i="1" dirty="0">
                <a:solidFill>
                  <a:srgbClr val="366092">
                    <a:lumMod val="75000"/>
                  </a:srgbClr>
                </a:solidFill>
                <a:latin typeface="ITC Franklin Gothic Book" panose="020B0504030503020204" pitchFamily="34" charset="0"/>
              </a:rPr>
              <a:t>Educating legislators/advocating policy?</a:t>
            </a:r>
          </a:p>
        </p:txBody>
      </p:sp>
      <p:sp>
        <p:nvSpPr>
          <p:cNvPr id="20" name="Right Arrow 19"/>
          <p:cNvSpPr/>
          <p:nvPr/>
        </p:nvSpPr>
        <p:spPr>
          <a:xfrm>
            <a:off x="4164620" y="3405373"/>
            <a:ext cx="2007580" cy="262354"/>
          </a:xfrm>
          <a:prstGeom prst="right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b="1">
              <a:ln w="18000">
                <a:solidFill>
                  <a:srgbClr val="953734">
                    <a:satMod val="140000"/>
                  </a:srgbClr>
                </a:solidFill>
                <a:prstDash val="solid"/>
                <a:miter lim="800000"/>
              </a:ln>
              <a:solidFill>
                <a:srgbClr val="E36C09"/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endParaRPr>
          </a:p>
        </p:txBody>
      </p:sp>
      <p:sp>
        <p:nvSpPr>
          <p:cNvPr id="16" name="Rectangle 24"/>
          <p:cNvSpPr>
            <a:spLocks noChangeArrowheads="1"/>
          </p:cNvSpPr>
          <p:nvPr/>
        </p:nvSpPr>
        <p:spPr bwMode="auto">
          <a:xfrm>
            <a:off x="147451" y="4837613"/>
            <a:ext cx="401716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914400"/>
            <a:r>
              <a:rPr lang="en-US" sz="1600" b="1" i="1" dirty="0">
                <a:solidFill>
                  <a:srgbClr val="366092">
                    <a:lumMod val="75000"/>
                  </a:srgbClr>
                </a:solidFill>
                <a:latin typeface="ITC Franklin Gothic Book" panose="020B0504030503020204" pitchFamily="34" charset="0"/>
              </a:rPr>
              <a:t>Philanthropic advising/research on nonprofits?</a:t>
            </a:r>
          </a:p>
        </p:txBody>
      </p:sp>
      <p:sp>
        <p:nvSpPr>
          <p:cNvPr id="22" name="Right Arrow 21"/>
          <p:cNvSpPr/>
          <p:nvPr/>
        </p:nvSpPr>
        <p:spPr>
          <a:xfrm>
            <a:off x="4164620" y="4998823"/>
            <a:ext cx="2007580" cy="262354"/>
          </a:xfrm>
          <a:prstGeom prst="right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b="1">
              <a:ln w="18000">
                <a:solidFill>
                  <a:srgbClr val="953734">
                    <a:satMod val="140000"/>
                  </a:srgbClr>
                </a:solidFill>
                <a:prstDash val="solid"/>
                <a:miter lim="800000"/>
              </a:ln>
              <a:solidFill>
                <a:srgbClr val="E36C09"/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endParaRPr>
          </a:p>
        </p:txBody>
      </p:sp>
      <p:sp>
        <p:nvSpPr>
          <p:cNvPr id="35" name="Oval 34"/>
          <p:cNvSpPr/>
          <p:nvPr/>
        </p:nvSpPr>
        <p:spPr>
          <a:xfrm>
            <a:off x="6629400" y="4787100"/>
            <a:ext cx="685800" cy="6858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black"/>
              </a:solidFill>
            </a:endParaRPr>
          </a:p>
        </p:txBody>
      </p:sp>
      <p:sp>
        <p:nvSpPr>
          <p:cNvPr id="17" name="Rectangle 24"/>
          <p:cNvSpPr>
            <a:spLocks noChangeArrowheads="1"/>
          </p:cNvSpPr>
          <p:nvPr/>
        </p:nvSpPr>
        <p:spPr bwMode="auto">
          <a:xfrm>
            <a:off x="147451" y="5757446"/>
            <a:ext cx="401716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914400"/>
            <a:r>
              <a:rPr lang="en-US" sz="1600" b="1" i="1" dirty="0">
                <a:solidFill>
                  <a:srgbClr val="366092">
                    <a:lumMod val="75000"/>
                  </a:srgbClr>
                </a:solidFill>
                <a:latin typeface="ITC Franklin Gothic Book" panose="020B0504030503020204" pitchFamily="34" charset="0"/>
              </a:rPr>
              <a:t>Research on community needs?</a:t>
            </a:r>
          </a:p>
        </p:txBody>
      </p:sp>
      <p:sp>
        <p:nvSpPr>
          <p:cNvPr id="23" name="Right Arrow 22"/>
          <p:cNvSpPr/>
          <p:nvPr/>
        </p:nvSpPr>
        <p:spPr>
          <a:xfrm>
            <a:off x="4164620" y="5757446"/>
            <a:ext cx="2007580" cy="262354"/>
          </a:xfrm>
          <a:prstGeom prst="right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b="1">
              <a:ln w="18000">
                <a:solidFill>
                  <a:srgbClr val="953734">
                    <a:satMod val="140000"/>
                  </a:srgbClr>
                </a:solidFill>
                <a:prstDash val="solid"/>
                <a:miter lim="800000"/>
              </a:ln>
              <a:solidFill>
                <a:srgbClr val="E36C09"/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endParaRPr>
          </a:p>
        </p:txBody>
      </p:sp>
      <p:sp>
        <p:nvSpPr>
          <p:cNvPr id="36" name="Oval 35"/>
          <p:cNvSpPr/>
          <p:nvPr/>
        </p:nvSpPr>
        <p:spPr>
          <a:xfrm>
            <a:off x="6629400" y="5583823"/>
            <a:ext cx="685800" cy="6858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black"/>
              </a:solidFill>
            </a:endParaRPr>
          </a:p>
        </p:txBody>
      </p:sp>
      <p:sp>
        <p:nvSpPr>
          <p:cNvPr id="2055" name="TextBox 2054"/>
          <p:cNvSpPr txBox="1"/>
          <p:nvPr/>
        </p:nvSpPr>
        <p:spPr>
          <a:xfrm>
            <a:off x="6705600" y="2601326"/>
            <a:ext cx="53340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914400"/>
            <a:r>
              <a:rPr lang="en-US" dirty="0" smtClean="0">
                <a:solidFill>
                  <a:prstClr val="black"/>
                </a:solidFill>
                <a:latin typeface="ITC Franklin Gothic Book" panose="020B0504030503020204" pitchFamily="34" charset="0"/>
              </a:rPr>
              <a:t>91%</a:t>
            </a:r>
            <a:endParaRPr lang="en-US" dirty="0">
              <a:solidFill>
                <a:prstClr val="black"/>
              </a:solidFill>
              <a:latin typeface="ITC Franklin Gothic Book" panose="020B0504030503020204" pitchFamily="34" charset="0"/>
            </a:endParaRPr>
          </a:p>
        </p:txBody>
      </p:sp>
      <p:sp>
        <p:nvSpPr>
          <p:cNvPr id="11" name="Rectangle 24"/>
          <p:cNvSpPr>
            <a:spLocks noChangeArrowheads="1"/>
          </p:cNvSpPr>
          <p:nvPr/>
        </p:nvSpPr>
        <p:spPr bwMode="auto">
          <a:xfrm>
            <a:off x="147451" y="1773823"/>
            <a:ext cx="401716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914400"/>
            <a:r>
              <a:rPr lang="en-US" sz="1600" b="1" i="1" dirty="0">
                <a:solidFill>
                  <a:srgbClr val="366092">
                    <a:lumMod val="75000"/>
                  </a:srgbClr>
                </a:solidFill>
                <a:latin typeface="ITC Franklin Gothic Book" panose="020B0504030503020204" pitchFamily="34" charset="0"/>
              </a:rPr>
              <a:t>Community foundation field building?</a:t>
            </a:r>
          </a:p>
        </p:txBody>
      </p:sp>
      <p:sp>
        <p:nvSpPr>
          <p:cNvPr id="15" name="Right Arrow 14"/>
          <p:cNvSpPr/>
          <p:nvPr/>
        </p:nvSpPr>
        <p:spPr>
          <a:xfrm>
            <a:off x="4164620" y="1811923"/>
            <a:ext cx="2007580" cy="262354"/>
          </a:xfrm>
          <a:prstGeom prst="right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b="1">
              <a:ln w="18000">
                <a:solidFill>
                  <a:srgbClr val="953734">
                    <a:satMod val="140000"/>
                  </a:srgbClr>
                </a:solidFill>
                <a:prstDash val="solid"/>
                <a:miter lim="800000"/>
              </a:ln>
              <a:solidFill>
                <a:srgbClr val="E36C09"/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endParaRPr>
          </a:p>
        </p:txBody>
      </p:sp>
      <p:sp>
        <p:nvSpPr>
          <p:cNvPr id="31" name="Oval 30"/>
          <p:cNvSpPr/>
          <p:nvPr/>
        </p:nvSpPr>
        <p:spPr>
          <a:xfrm>
            <a:off x="6629400" y="1600200"/>
            <a:ext cx="685800" cy="6858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black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6705600" y="1804601"/>
            <a:ext cx="53340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914400"/>
            <a:r>
              <a:rPr lang="en-US" dirty="0" smtClean="0">
                <a:solidFill>
                  <a:prstClr val="black"/>
                </a:solidFill>
                <a:latin typeface="ITC Franklin Gothic Book" panose="020B0504030503020204" pitchFamily="34" charset="0"/>
              </a:rPr>
              <a:t>45%</a:t>
            </a:r>
            <a:endParaRPr lang="en-US" dirty="0">
              <a:solidFill>
                <a:prstClr val="black"/>
              </a:solidFill>
              <a:latin typeface="ITC Franklin Gothic Book" panose="020B0504030503020204" pitchFamily="34" charset="0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6629400" y="3193650"/>
            <a:ext cx="685800" cy="6858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black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705600" y="3398051"/>
            <a:ext cx="53340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914400"/>
            <a:r>
              <a:rPr lang="en-US" dirty="0" smtClean="0">
                <a:solidFill>
                  <a:prstClr val="black"/>
                </a:solidFill>
                <a:latin typeface="ITC Franklin Gothic Book" panose="020B0504030503020204" pitchFamily="34" charset="0"/>
              </a:rPr>
              <a:t>27%</a:t>
            </a:r>
            <a:endParaRPr lang="en-US" dirty="0">
              <a:solidFill>
                <a:prstClr val="black"/>
              </a:solidFill>
              <a:latin typeface="ITC Franklin Gothic Book" panose="020B0504030503020204" pitchFamily="34" charset="0"/>
            </a:endParaRPr>
          </a:p>
        </p:txBody>
      </p:sp>
      <p:sp>
        <p:nvSpPr>
          <p:cNvPr id="14" name="Rectangle 24"/>
          <p:cNvSpPr>
            <a:spLocks noChangeArrowheads="1"/>
          </p:cNvSpPr>
          <p:nvPr/>
        </p:nvSpPr>
        <p:spPr bwMode="auto">
          <a:xfrm>
            <a:off x="147451" y="4163998"/>
            <a:ext cx="401716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914400"/>
            <a:r>
              <a:rPr lang="en-US" sz="1600" b="1" i="1" dirty="0">
                <a:solidFill>
                  <a:srgbClr val="366092">
                    <a:lumMod val="75000"/>
                  </a:srgbClr>
                </a:solidFill>
                <a:latin typeface="ITC Franklin Gothic Book" panose="020B0504030503020204" pitchFamily="34" charset="0"/>
              </a:rPr>
              <a:t>Non-profit capacity development?</a:t>
            </a:r>
          </a:p>
        </p:txBody>
      </p:sp>
      <p:sp>
        <p:nvSpPr>
          <p:cNvPr id="21" name="Right Arrow 20"/>
          <p:cNvSpPr/>
          <p:nvPr/>
        </p:nvSpPr>
        <p:spPr>
          <a:xfrm>
            <a:off x="4164620" y="4202098"/>
            <a:ext cx="2007580" cy="262354"/>
          </a:xfrm>
          <a:prstGeom prst="right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b="1">
              <a:ln w="18000">
                <a:solidFill>
                  <a:srgbClr val="953734">
                    <a:satMod val="140000"/>
                  </a:srgbClr>
                </a:solidFill>
                <a:prstDash val="solid"/>
                <a:miter lim="800000"/>
              </a:ln>
              <a:solidFill>
                <a:srgbClr val="E36C09"/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endParaRPr>
          </a:p>
        </p:txBody>
      </p:sp>
      <p:sp>
        <p:nvSpPr>
          <p:cNvPr id="34" name="Oval 33"/>
          <p:cNvSpPr/>
          <p:nvPr/>
        </p:nvSpPr>
        <p:spPr>
          <a:xfrm>
            <a:off x="6629400" y="3990375"/>
            <a:ext cx="685800" cy="685800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black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705600" y="4194776"/>
            <a:ext cx="53340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914400"/>
            <a:r>
              <a:rPr lang="en-US" dirty="0" smtClean="0">
                <a:solidFill>
                  <a:prstClr val="black"/>
                </a:solidFill>
                <a:latin typeface="ITC Franklin Gothic Book" panose="020B0504030503020204" pitchFamily="34" charset="0"/>
              </a:rPr>
              <a:t>82%</a:t>
            </a:r>
            <a:endParaRPr lang="en-US" dirty="0">
              <a:solidFill>
                <a:prstClr val="black"/>
              </a:solidFill>
              <a:latin typeface="ITC Franklin Gothic Book" panose="020B0504030503020204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6705600" y="4991501"/>
            <a:ext cx="53340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914400"/>
            <a:r>
              <a:rPr lang="en-US" dirty="0" smtClean="0">
                <a:solidFill>
                  <a:prstClr val="black"/>
                </a:solidFill>
                <a:latin typeface="ITC Franklin Gothic Book" panose="020B0504030503020204" pitchFamily="34" charset="0"/>
              </a:rPr>
              <a:t>64%</a:t>
            </a:r>
            <a:endParaRPr lang="en-US" dirty="0">
              <a:solidFill>
                <a:prstClr val="black"/>
              </a:solidFill>
              <a:latin typeface="ITC Franklin Gothic Book" panose="020B050403050302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6705600" y="5788224"/>
            <a:ext cx="533400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914400"/>
            <a:r>
              <a:rPr lang="en-US" dirty="0" smtClean="0">
                <a:solidFill>
                  <a:prstClr val="black"/>
                </a:solidFill>
                <a:latin typeface="ITC Franklin Gothic Book" panose="020B0504030503020204" pitchFamily="34" charset="0"/>
              </a:rPr>
              <a:t>82%</a:t>
            </a:r>
            <a:endParaRPr lang="en-US" dirty="0">
              <a:solidFill>
                <a:prstClr val="black"/>
              </a:solidFill>
              <a:latin typeface="ITC Franklin Gothic Book" panose="020B0504030503020204" pitchFamily="34" charset="0"/>
            </a:endParaRPr>
          </a:p>
        </p:txBody>
      </p:sp>
      <p:sp>
        <p:nvSpPr>
          <p:cNvPr id="53" name="Slide Number Placeholder 31"/>
          <p:cNvSpPr txBox="1">
            <a:spLocks/>
          </p:cNvSpPr>
          <p:nvPr/>
        </p:nvSpPr>
        <p:spPr>
          <a:xfrm>
            <a:off x="3505200" y="65833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ITC Franklin Gothic Book" panose="020B05040305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729DED-6A4C-466E-8433-228AF169F93D}" type="slidenum">
              <a:rPr lang="en-US" b="1" smtClean="0">
                <a:solidFill>
                  <a:srgbClr val="0064AD"/>
                </a:solidFill>
              </a:rPr>
              <a:pPr/>
              <a:t>25</a:t>
            </a:fld>
            <a:endParaRPr lang="en-US" b="1" dirty="0">
              <a:solidFill>
                <a:srgbClr val="0064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12063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ooter Placeholder 2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  <a:cs typeface="Arial" charset="0"/>
              </a:rPr>
              <a:t>© CF Insights 2015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2" name="Slide Number Placeholder 31"/>
          <p:cNvSpPr>
            <a:spLocks noGrp="1"/>
          </p:cNvSpPr>
          <p:nvPr>
            <p:ph type="sldNum" sz="quarter" idx="4294967295"/>
          </p:nvPr>
        </p:nvSpPr>
        <p:spPr>
          <a:xfrm>
            <a:off x="3505200" y="6583363"/>
            <a:ext cx="2133600" cy="274637"/>
          </a:xfrm>
        </p:spPr>
        <p:txBody>
          <a:bodyPr anchor="ctr"/>
          <a:lstStyle/>
          <a:p>
            <a:fld id="{B6729DED-6A4C-466E-8433-228AF169F93D}" type="slidenum">
              <a:rPr lang="en-US" b="1">
                <a:solidFill>
                  <a:srgbClr val="0064AD"/>
                </a:solidFill>
              </a:rPr>
              <a:pPr/>
              <a:t>26</a:t>
            </a:fld>
            <a:endParaRPr lang="en-US" b="1" dirty="0">
              <a:solidFill>
                <a:srgbClr val="0064AD"/>
              </a:solidFill>
            </a:endParaRPr>
          </a:p>
        </p:txBody>
      </p:sp>
      <p:graphicFrame>
        <p:nvGraphicFramePr>
          <p:cNvPr id="38" name="Chart 3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52887824"/>
              </p:ext>
            </p:extLst>
          </p:nvPr>
        </p:nvGraphicFramePr>
        <p:xfrm>
          <a:off x="533400" y="1311275"/>
          <a:ext cx="8153400" cy="423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9" name="Rectangle 24"/>
          <p:cNvSpPr>
            <a:spLocks noChangeArrowheads="1"/>
          </p:cNvSpPr>
          <p:nvPr/>
        </p:nvSpPr>
        <p:spPr bwMode="auto">
          <a:xfrm>
            <a:off x="592931" y="685800"/>
            <a:ext cx="803433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914400"/>
            <a:r>
              <a:rPr lang="en-US" sz="2000" b="1" dirty="0" smtClean="0">
                <a:solidFill>
                  <a:srgbClr val="0064AD"/>
                </a:solidFill>
                <a:latin typeface="ITC Franklin Gothic Book" panose="020B0504030503020204" pitchFamily="34" charset="0"/>
              </a:rPr>
              <a:t>Assets per FTE, 2014</a:t>
            </a:r>
            <a:endParaRPr lang="en-US" sz="1200" b="1" dirty="0">
              <a:solidFill>
                <a:srgbClr val="0064AD"/>
              </a:solidFill>
              <a:latin typeface="ITC Franklin Gothic Book" panose="020B0504030503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6200" y="5562600"/>
            <a:ext cx="990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dirty="0" smtClean="0">
                <a:solidFill>
                  <a:prstClr val="black"/>
                </a:solidFill>
                <a:latin typeface="ITC Franklin Gothic Book" panose="020B0504030503020204" pitchFamily="34" charset="0"/>
              </a:rPr>
              <a:t>Total FTEs</a:t>
            </a:r>
            <a:endParaRPr lang="en-US" dirty="0">
              <a:solidFill>
                <a:prstClr val="black"/>
              </a:solidFill>
              <a:latin typeface="ITC Franklin Gothic Book" panose="020B0504030503020204" pitchFamily="34" charset="0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4006983"/>
              </p:ext>
            </p:extLst>
          </p:nvPr>
        </p:nvGraphicFramePr>
        <p:xfrm>
          <a:off x="1219196" y="5725160"/>
          <a:ext cx="7315204" cy="518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2708"/>
                <a:gridCol w="562708"/>
                <a:gridCol w="562708"/>
                <a:gridCol w="562708"/>
                <a:gridCol w="562708"/>
                <a:gridCol w="562708"/>
                <a:gridCol w="562708"/>
                <a:gridCol w="562708"/>
                <a:gridCol w="562708"/>
                <a:gridCol w="562708"/>
                <a:gridCol w="562708"/>
                <a:gridCol w="562708"/>
                <a:gridCol w="562708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ITC Franklin Gothic Book" panose="020B0504030503020204" pitchFamily="34" charset="0"/>
                        </a:rPr>
                        <a:t>3.6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ITC Franklin Gothic Book" panose="020B0504030503020204" pitchFamily="34" charset="0"/>
                        </a:rPr>
                        <a:t>1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ITC Franklin Gothic Book" panose="020B0504030503020204" pitchFamily="34" charset="0"/>
                        </a:rPr>
                        <a:t>3.9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ITC Franklin Gothic Book" panose="020B0504030503020204" pitchFamily="34" charset="0"/>
                        </a:rPr>
                        <a:t>2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ITC Franklin Gothic Book" panose="020B0504030503020204" pitchFamily="34" charset="0"/>
                        </a:rPr>
                        <a:t>4.8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ITC Franklin Gothic Book" panose="020B0504030503020204" pitchFamily="34" charset="0"/>
                        </a:rPr>
                        <a:t>2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ITC Franklin Gothic Book" panose="020B0504030503020204" pitchFamily="34" charset="0"/>
                        </a:rPr>
                        <a:t>27.6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ITC Franklin Gothic Book" panose="020B0504030503020204" pitchFamily="34" charset="0"/>
                        </a:rPr>
                        <a:t>1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ITC Franklin Gothic Book" panose="020B0504030503020204" pitchFamily="34" charset="0"/>
                        </a:rPr>
                        <a:t>3.6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ITC Franklin Gothic Book" panose="020B0504030503020204" pitchFamily="34" charset="0"/>
                        </a:rPr>
                        <a:t>9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ITC Franklin Gothic Book" panose="020B0504030503020204" pitchFamily="34" charset="0"/>
                        </a:rPr>
                        <a:t>11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ITC Franklin Gothic Book" panose="020B0504030503020204" pitchFamily="34" charset="0"/>
                        </a:rPr>
                        <a:t>5.5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ITC Franklin Gothic Book" panose="020B0504030503020204" pitchFamily="34" charset="0"/>
                        </a:rPr>
                        <a:t>4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ITC Franklin Gothic Book" panose="020B0504030503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7377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000000"/>
                </a:solidFill>
                <a:cs typeface="Arial" charset="0"/>
              </a:rPr>
              <a:t>© CF Insights 2015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" name="Rectangle 24"/>
          <p:cNvSpPr>
            <a:spLocks noChangeArrowheads="1"/>
          </p:cNvSpPr>
          <p:nvPr/>
        </p:nvSpPr>
        <p:spPr bwMode="auto">
          <a:xfrm>
            <a:off x="592931" y="609600"/>
            <a:ext cx="803433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914400"/>
            <a:r>
              <a:rPr lang="en-US" sz="2000" b="1" dirty="0" smtClean="0">
                <a:solidFill>
                  <a:srgbClr val="0064AD"/>
                </a:solidFill>
                <a:latin typeface="ITC Franklin Gothic Book" panose="020B0504030503020204" pitchFamily="34" charset="0"/>
              </a:rPr>
              <a:t>Gifts per Capita</a:t>
            </a:r>
            <a:endParaRPr lang="en-US" sz="1200" b="1" dirty="0">
              <a:solidFill>
                <a:srgbClr val="0064AD"/>
              </a:solidFill>
              <a:latin typeface="ITC Franklin Gothic Book" panose="020B0504030503020204" pitchFamily="34" charset="0"/>
            </a:endParaRPr>
          </a:p>
        </p:txBody>
      </p:sp>
      <p:sp>
        <p:nvSpPr>
          <p:cNvPr id="8" name="Rectangle 24"/>
          <p:cNvSpPr>
            <a:spLocks noChangeArrowheads="1"/>
          </p:cNvSpPr>
          <p:nvPr/>
        </p:nvSpPr>
        <p:spPr bwMode="auto">
          <a:xfrm>
            <a:off x="592931" y="3581400"/>
            <a:ext cx="803433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914400"/>
            <a:r>
              <a:rPr lang="en-US" sz="2000" b="1" dirty="0" smtClean="0">
                <a:solidFill>
                  <a:srgbClr val="0064AD"/>
                </a:solidFill>
                <a:latin typeface="ITC Franklin Gothic Book" panose="020B0504030503020204" pitchFamily="34" charset="0"/>
              </a:rPr>
              <a:t>Grants per Capita</a:t>
            </a:r>
            <a:endParaRPr lang="en-US" sz="1200" b="1" dirty="0">
              <a:solidFill>
                <a:srgbClr val="0064AD"/>
              </a:solidFill>
              <a:latin typeface="ITC Franklin Gothic Book" panose="020B0504030503020204" pitchFamily="34" charset="0"/>
            </a:endParaRPr>
          </a:p>
        </p:txBody>
      </p:sp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61058879"/>
              </p:ext>
            </p:extLst>
          </p:nvPr>
        </p:nvGraphicFramePr>
        <p:xfrm>
          <a:off x="228600" y="1085911"/>
          <a:ext cx="8686800" cy="24192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52161460"/>
              </p:ext>
            </p:extLst>
          </p:nvPr>
        </p:nvGraphicFramePr>
        <p:xfrm>
          <a:off x="228600" y="3993407"/>
          <a:ext cx="8686800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Slide Number Placeholder 31"/>
          <p:cNvSpPr txBox="1">
            <a:spLocks/>
          </p:cNvSpPr>
          <p:nvPr/>
        </p:nvSpPr>
        <p:spPr>
          <a:xfrm>
            <a:off x="3505200" y="6583363"/>
            <a:ext cx="2133600" cy="274637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ITC Franklin Gothic Book" panose="020B0504030503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729DED-6A4C-466E-8433-228AF169F93D}" type="slidenum">
              <a:rPr lang="en-US" b="1" smtClean="0">
                <a:solidFill>
                  <a:srgbClr val="0064AD"/>
                </a:solidFill>
              </a:rPr>
              <a:pPr/>
              <a:t>27</a:t>
            </a:fld>
            <a:endParaRPr lang="en-US" b="1" dirty="0">
              <a:solidFill>
                <a:srgbClr val="0064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2184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a BUSINESS MODEL?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 bwMode="auto">
          <a:xfrm>
            <a:off x="441960" y="1897380"/>
            <a:ext cx="3352800" cy="922020"/>
          </a:xfrm>
          <a:prstGeom prst="roundRect">
            <a:avLst/>
          </a:prstGeom>
          <a:solidFill>
            <a:srgbClr val="005AAA"/>
          </a:solidFill>
          <a:ln>
            <a:noFill/>
          </a:ln>
          <a:effectLst/>
          <a:ex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3000" b="1" i="1" u="none" strike="noStrike" normalizeH="0" baseline="0" dirty="0" smtClean="0">
                <a:solidFill>
                  <a:schemeClr val="bg1"/>
                </a:solidFill>
                <a:effectLst/>
                <a:latin typeface="Arial" pitchFamily="34" charset="0"/>
              </a:rPr>
              <a:t>CREATE</a:t>
            </a:r>
            <a:r>
              <a:rPr kumimoji="0" lang="en-US" sz="3000" b="1" i="0" u="none" strike="noStrike" normalizeH="0" baseline="0" dirty="0" smtClean="0">
                <a:solidFill>
                  <a:schemeClr val="bg1"/>
                </a:solidFill>
                <a:effectLst/>
                <a:latin typeface="Arial" pitchFamily="34" charset="0"/>
              </a:rPr>
              <a:t> value</a:t>
            </a:r>
          </a:p>
        </p:txBody>
      </p:sp>
      <p:sp>
        <p:nvSpPr>
          <p:cNvPr id="7" name="Isosceles Triangle 6"/>
          <p:cNvSpPr/>
          <p:nvPr/>
        </p:nvSpPr>
        <p:spPr bwMode="auto">
          <a:xfrm rot="5400000">
            <a:off x="3983704" y="2162738"/>
            <a:ext cx="968866" cy="300990"/>
          </a:xfrm>
          <a:prstGeom prst="triangle">
            <a:avLst/>
          </a:prstGeom>
          <a:solidFill>
            <a:srgbClr val="595959"/>
          </a:solidFill>
          <a:ln w="38100">
            <a:solidFill>
              <a:srgbClr val="595959"/>
            </a:solidFill>
          </a:ln>
          <a:effectLst/>
          <a:ex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i="0" u="none" strike="noStrike" normalizeH="0" baseline="0" dirty="0" smtClean="0">
              <a:effectLst/>
              <a:latin typeface="Arial" pitchFamily="34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5074920" y="1897380"/>
            <a:ext cx="3688080" cy="922020"/>
          </a:xfrm>
          <a:prstGeom prst="roundRect">
            <a:avLst/>
          </a:prstGeom>
          <a:noFill/>
          <a:ln w="50800">
            <a:solidFill>
              <a:schemeClr val="tx2"/>
            </a:solidFill>
          </a:ln>
          <a:effectLst/>
          <a:ex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500" b="1" i="0" u="none" strike="noStrike" normalizeH="0" baseline="0" dirty="0" smtClean="0">
                <a:solidFill>
                  <a:schemeClr val="tx1"/>
                </a:solidFill>
                <a:effectLst/>
                <a:latin typeface="Arial" pitchFamily="34" charset="0"/>
              </a:rPr>
              <a:t>Product Portfolio</a:t>
            </a:r>
          </a:p>
        </p:txBody>
      </p:sp>
      <p:sp>
        <p:nvSpPr>
          <p:cNvPr id="9" name="Rounded Rectangle 8"/>
          <p:cNvSpPr/>
          <p:nvPr/>
        </p:nvSpPr>
        <p:spPr bwMode="auto">
          <a:xfrm>
            <a:off x="441960" y="3443114"/>
            <a:ext cx="3352800" cy="92202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  <a:ex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3000" b="1" i="1" u="none" strike="noStrike" normalizeH="0" baseline="0" dirty="0" smtClean="0">
                <a:effectLst/>
                <a:latin typeface="Arial" pitchFamily="34" charset="0"/>
              </a:rPr>
              <a:t>DELIVER</a:t>
            </a:r>
            <a:r>
              <a:rPr kumimoji="0" lang="en-US" sz="3000" b="1" i="0" u="none" strike="noStrike" normalizeH="0" dirty="0" smtClean="0">
                <a:effectLst/>
                <a:latin typeface="Arial" pitchFamily="34" charset="0"/>
              </a:rPr>
              <a:t> value</a:t>
            </a:r>
            <a:endParaRPr kumimoji="0" lang="en-US" sz="3000" b="1" i="0" u="none" strike="noStrike" normalizeH="0" baseline="0" dirty="0" smtClean="0">
              <a:effectLst/>
              <a:latin typeface="Arial" pitchFamily="34" charset="0"/>
            </a:endParaRPr>
          </a:p>
        </p:txBody>
      </p:sp>
      <p:sp>
        <p:nvSpPr>
          <p:cNvPr id="10" name="Isosceles Triangle 9"/>
          <p:cNvSpPr/>
          <p:nvPr/>
        </p:nvSpPr>
        <p:spPr bwMode="auto">
          <a:xfrm rot="5400000">
            <a:off x="3983704" y="3762938"/>
            <a:ext cx="968866" cy="300990"/>
          </a:xfrm>
          <a:prstGeom prst="triangle">
            <a:avLst/>
          </a:prstGeom>
          <a:solidFill>
            <a:srgbClr val="595959"/>
          </a:solidFill>
          <a:ln w="38100">
            <a:solidFill>
              <a:srgbClr val="595959"/>
            </a:solidFill>
          </a:ln>
          <a:effectLst/>
          <a:ex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i="0" u="none" strike="noStrike" normalizeH="0" baseline="0" dirty="0" smtClean="0">
              <a:effectLst/>
              <a:latin typeface="Arial" pitchFamily="34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5074920" y="3443114"/>
            <a:ext cx="3688080" cy="922020"/>
          </a:xfrm>
          <a:prstGeom prst="roundRect">
            <a:avLst/>
          </a:prstGeom>
          <a:noFill/>
          <a:ln w="50800">
            <a:solidFill>
              <a:schemeClr val="tx2">
                <a:lumMod val="60000"/>
                <a:lumOff val="40000"/>
              </a:schemeClr>
            </a:solidFill>
          </a:ln>
          <a:effectLst/>
          <a:ex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500" b="1" i="0" u="none" strike="noStrike" normalizeH="0" baseline="0" dirty="0" smtClean="0">
                <a:solidFill>
                  <a:schemeClr val="tx1"/>
                </a:solidFill>
                <a:effectLst/>
                <a:latin typeface="Arial" pitchFamily="34" charset="0"/>
              </a:rPr>
              <a:t>Resource Allocation</a:t>
            </a:r>
          </a:p>
        </p:txBody>
      </p:sp>
      <p:sp>
        <p:nvSpPr>
          <p:cNvPr id="12" name="Rounded Rectangle 11"/>
          <p:cNvSpPr/>
          <p:nvPr/>
        </p:nvSpPr>
        <p:spPr bwMode="auto">
          <a:xfrm>
            <a:off x="441960" y="4890914"/>
            <a:ext cx="3352800" cy="92202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/>
          <a:ex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3000" b="1" i="1" u="none" strike="noStrike" normalizeH="0" baseline="0" dirty="0" smtClean="0">
                <a:effectLst/>
                <a:latin typeface="Arial" pitchFamily="34" charset="0"/>
              </a:rPr>
              <a:t>CAPTURE</a:t>
            </a:r>
            <a:r>
              <a:rPr kumimoji="0" lang="en-US" sz="3000" b="1" i="0" u="none" strike="noStrike" normalizeH="0" baseline="0" dirty="0" smtClean="0">
                <a:effectLst/>
                <a:latin typeface="Arial" pitchFamily="34" charset="0"/>
              </a:rPr>
              <a:t> </a:t>
            </a:r>
            <a:r>
              <a:rPr kumimoji="0" lang="en-US" sz="3000" b="1" i="0" u="none" strike="noStrike" normalizeH="0" dirty="0" smtClean="0">
                <a:effectLst/>
                <a:latin typeface="Arial" pitchFamily="34" charset="0"/>
              </a:rPr>
              <a:t>value</a:t>
            </a:r>
            <a:endParaRPr kumimoji="0" lang="en-US" sz="3000" b="1" i="0" u="none" strike="noStrike" normalizeH="0" baseline="0" dirty="0" smtClean="0">
              <a:effectLst/>
              <a:latin typeface="Arial" pitchFamily="34" charset="0"/>
            </a:endParaRPr>
          </a:p>
        </p:txBody>
      </p:sp>
      <p:sp>
        <p:nvSpPr>
          <p:cNvPr id="13" name="Isosceles Triangle 12"/>
          <p:cNvSpPr/>
          <p:nvPr/>
        </p:nvSpPr>
        <p:spPr bwMode="auto">
          <a:xfrm rot="5400000">
            <a:off x="3983704" y="5232472"/>
            <a:ext cx="968866" cy="300990"/>
          </a:xfrm>
          <a:prstGeom prst="triangle">
            <a:avLst/>
          </a:prstGeom>
          <a:solidFill>
            <a:srgbClr val="595959"/>
          </a:solidFill>
          <a:ln w="38100">
            <a:solidFill>
              <a:srgbClr val="595959"/>
            </a:solidFill>
          </a:ln>
          <a:effectLst/>
          <a:ex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i="0" u="none" strike="noStrike" normalizeH="0" baseline="0" dirty="0" smtClean="0">
              <a:effectLst/>
              <a:latin typeface="Arial" pitchFamily="34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4998720" y="4890914"/>
            <a:ext cx="3688080" cy="922020"/>
          </a:xfrm>
          <a:prstGeom prst="roundRect">
            <a:avLst/>
          </a:prstGeom>
          <a:noFill/>
          <a:ln w="50800">
            <a:solidFill>
              <a:srgbClr val="CCECFF"/>
            </a:solidFill>
          </a:ln>
          <a:effectLst/>
          <a:ex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500" b="1" i="0" u="none" strike="noStrike" normalizeH="0" baseline="0" dirty="0" smtClean="0">
                <a:solidFill>
                  <a:schemeClr val="tx1"/>
                </a:solidFill>
                <a:effectLst/>
                <a:latin typeface="Arial" pitchFamily="34" charset="0"/>
              </a:rPr>
              <a:t>Revenue Generation</a:t>
            </a:r>
          </a:p>
        </p:txBody>
      </p:sp>
    </p:spTree>
    <p:extLst>
      <p:ext uri="{BB962C8B-B14F-4D97-AF65-F5344CB8AC3E}">
        <p14:creationId xmlns:p14="http://schemas.microsoft.com/office/powerpoint/2010/main" val="3622586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Fs are continually adapting to changing needs and aspiring to greater growth and impact 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Source:  “Align, Adapt, Aspire”</a:t>
            </a:r>
            <a:endParaRPr lang="en-US" dirty="0"/>
          </a:p>
        </p:txBody>
      </p:sp>
      <p:pic>
        <p:nvPicPr>
          <p:cNvPr id="5" name="Picture 2" descr="C:\Users\hollie.marston\Documents\J Drive_02 14 2013\Analysis\Business Model Analysis Update 2012\Report\Nesting Doll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478" y="1625220"/>
            <a:ext cx="7972143" cy="429790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84631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does data show us different business model choices?   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641445" y="1719618"/>
            <a:ext cx="7670042" cy="4558351"/>
          </a:xfrm>
          <a:prstGeom prst="round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itchFamily="34" charset="0"/>
              <a:buChar char="•"/>
            </a:pPr>
            <a:r>
              <a:rPr lang="en-US" sz="2400" b="1" dirty="0" smtClean="0"/>
              <a:t>Donor Advised Funds – Beyond WA Examples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2400" b="1" dirty="0"/>
          </a:p>
          <a:p>
            <a:pPr marL="285750" indent="-285750">
              <a:buFont typeface="Arial" pitchFamily="34" charset="0"/>
              <a:buChar char="•"/>
            </a:pPr>
            <a:r>
              <a:rPr lang="en-US" sz="2400" b="1" dirty="0" smtClean="0"/>
              <a:t>Leadership Choices – Beyond WA Examples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2400" b="1" dirty="0"/>
          </a:p>
          <a:p>
            <a:pPr marL="285750" indent="-285750">
              <a:buFont typeface="Arial" pitchFamily="34" charset="0"/>
              <a:buChar char="•"/>
            </a:pPr>
            <a:r>
              <a:rPr lang="en-US" sz="2400" b="1" dirty="0" smtClean="0"/>
              <a:t>Overall Profiles – WA Network Members</a:t>
            </a:r>
          </a:p>
        </p:txBody>
      </p:sp>
    </p:spTree>
    <p:extLst>
      <p:ext uri="{BB962C8B-B14F-4D97-AF65-F5344CB8AC3E}">
        <p14:creationId xmlns:p14="http://schemas.microsoft.com/office/powerpoint/2010/main" val="2782104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AF market represents the largest area of gifts, grants, and growth for CFs nationally</a:t>
            </a:r>
            <a:endParaRPr lang="en-US" dirty="0"/>
          </a:p>
        </p:txBody>
      </p:sp>
      <p:sp>
        <p:nvSpPr>
          <p:cNvPr id="10" name="TextBox 9"/>
          <p:cNvSpPr txBox="1"/>
          <p:nvPr>
            <p:custDataLst>
              <p:tags r:id="rId1"/>
            </p:custDataLst>
          </p:nvPr>
        </p:nvSpPr>
        <p:spPr>
          <a:xfrm>
            <a:off x="1219200" y="1828800"/>
            <a:ext cx="6705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</a:rPr>
              <a:t>DAF Asset Growth for Community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</a:rPr>
              <a:t>F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</a:rPr>
              <a:t>oundations and National Providers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</a:rPr>
              <a:t>($ Billion)</a:t>
            </a:r>
          </a:p>
        </p:txBody>
      </p:sp>
      <p:graphicFrame>
        <p:nvGraphicFramePr>
          <p:cNvPr id="3" name="Chart 2"/>
          <p:cNvGraphicFramePr/>
          <p:nvPr>
            <p:extLst>
              <p:ext uri="{D42A27DB-BD31-4B8C-83A1-F6EECF244321}">
                <p14:modId xmlns:p14="http://schemas.microsoft.com/office/powerpoint/2010/main" val="3880231452"/>
              </p:ext>
            </p:extLst>
          </p:nvPr>
        </p:nvGraphicFramePr>
        <p:xfrm>
          <a:off x="1515044" y="2562996"/>
          <a:ext cx="2614043" cy="31144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856095" y="5369692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595959"/>
                </a:solidFill>
              </a:rPr>
              <a:t>2000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234516" y="5369692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595959"/>
                </a:solidFill>
              </a:rPr>
              <a:t>2014</a:t>
            </a:r>
          </a:p>
        </p:txBody>
      </p:sp>
      <p:graphicFrame>
        <p:nvGraphicFramePr>
          <p:cNvPr id="16" name="Chart 15"/>
          <p:cNvGraphicFramePr/>
          <p:nvPr>
            <p:extLst>
              <p:ext uri="{D42A27DB-BD31-4B8C-83A1-F6EECF244321}">
                <p14:modId xmlns:p14="http://schemas.microsoft.com/office/powerpoint/2010/main" val="2487502964"/>
              </p:ext>
            </p:extLst>
          </p:nvPr>
        </p:nvGraphicFramePr>
        <p:xfrm>
          <a:off x="4983850" y="2592564"/>
          <a:ext cx="2614043" cy="31144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5297663" y="5399260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595959"/>
                </a:solidFill>
              </a:rPr>
              <a:t>2000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676084" y="5399260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595959"/>
                </a:solidFill>
              </a:rPr>
              <a:t>2014</a:t>
            </a:r>
          </a:p>
        </p:txBody>
      </p:sp>
      <p:sp>
        <p:nvSpPr>
          <p:cNvPr id="20" name="TextBox 19"/>
          <p:cNvSpPr txBox="1"/>
          <p:nvPr>
            <p:custDataLst>
              <p:tags r:id="rId2"/>
            </p:custDataLst>
          </p:nvPr>
        </p:nvSpPr>
        <p:spPr>
          <a:xfrm>
            <a:off x="178558" y="6186646"/>
            <a:ext cx="72537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</a:rPr>
              <a:t>Sources: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</a:rPr>
              <a:t>National Provider DAF Assets: Information provided by Fidelity, Schwab, and Vanguard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</a:rPr>
              <a:t>CF DAF Assets 2000: “A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</a:rPr>
              <a:t>Flexible and Growing Service to 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</a:rPr>
              <a:t>Donors: Donor-Advised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</a:rPr>
              <a:t>Funds </a:t>
            </a: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</a:rPr>
              <a:t>in Community Foundations,” Luck &amp; Feurt, 2002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</a:rPr>
              <a:t>CF DAF Assets 2014: Columbus Survey</a:t>
            </a:r>
          </a:p>
        </p:txBody>
      </p:sp>
      <p:sp>
        <p:nvSpPr>
          <p:cNvPr id="21" name="Right Arrow 20"/>
          <p:cNvSpPr/>
          <p:nvPr/>
        </p:nvSpPr>
        <p:spPr>
          <a:xfrm rot="17923157">
            <a:off x="2252817" y="4210363"/>
            <a:ext cx="1233881" cy="312744"/>
          </a:xfrm>
          <a:prstGeom prst="rightArrow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2366046" y="4064340"/>
            <a:ext cx="1012095" cy="608269"/>
            <a:chOff x="7690084" y="2138362"/>
            <a:chExt cx="1002831" cy="531680"/>
          </a:xfrm>
        </p:grpSpPr>
        <p:sp>
          <p:nvSpPr>
            <p:cNvPr id="23" name="Oval 22"/>
            <p:cNvSpPr/>
            <p:nvPr/>
          </p:nvSpPr>
          <p:spPr>
            <a:xfrm>
              <a:off x="7879773" y="2138362"/>
              <a:ext cx="623455" cy="528638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7690084" y="2185800"/>
              <a:ext cx="1002831" cy="48424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Annual growth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11%</a:t>
              </a:r>
            </a:p>
          </p:txBody>
        </p:sp>
      </p:grpSp>
      <p:sp>
        <p:nvSpPr>
          <p:cNvPr id="32" name="Right Arrow 31"/>
          <p:cNvSpPr/>
          <p:nvPr/>
        </p:nvSpPr>
        <p:spPr>
          <a:xfrm rot="17797574">
            <a:off x="5698405" y="4264955"/>
            <a:ext cx="1233881" cy="312744"/>
          </a:xfrm>
          <a:prstGeom prst="rightArrow">
            <a:avLst/>
          </a:prstGeom>
          <a:solidFill>
            <a:schemeClr val="accent5"/>
          </a:solidFill>
          <a:ln w="25400" cap="flat" cmpd="sng" algn="ctr">
            <a:solidFill>
              <a:schemeClr val="accent5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5811634" y="4118932"/>
            <a:ext cx="1012095" cy="608269"/>
            <a:chOff x="7690084" y="2138362"/>
            <a:chExt cx="1002831" cy="531680"/>
          </a:xfrm>
        </p:grpSpPr>
        <p:sp>
          <p:nvSpPr>
            <p:cNvPr id="34" name="Oval 33"/>
            <p:cNvSpPr/>
            <p:nvPr/>
          </p:nvSpPr>
          <p:spPr>
            <a:xfrm>
              <a:off x="7879773" y="2138362"/>
              <a:ext cx="623455" cy="528638"/>
            </a:xfrm>
            <a:prstGeom prst="ellipse">
              <a:avLst/>
            </a:prstGeom>
            <a:solidFill>
              <a:srgbClr val="FFFFFF"/>
            </a:solidFill>
            <a:ln w="25400" cap="flat" cmpd="sng" algn="ctr">
              <a:solidFill>
                <a:schemeClr val="accent5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7690084" y="2185800"/>
              <a:ext cx="1002831" cy="48424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Annual growth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16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641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t what motivates CFs to offer and grow DAFs?  </a:t>
            </a:r>
            <a:endParaRPr lang="en-US" dirty="0"/>
          </a:p>
        </p:txBody>
      </p:sp>
      <p:sp>
        <p:nvSpPr>
          <p:cNvPr id="30" name="Text Placeholder 3"/>
          <p:cNvSpPr txBox="1">
            <a:spLocks/>
          </p:cNvSpPr>
          <p:nvPr/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3429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1pPr>
            <a:lvl2pPr marL="74295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595959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indent="0">
              <a:buNone/>
            </a:pPr>
            <a:r>
              <a:rPr lang="en-US" sz="900" dirty="0" smtClean="0"/>
              <a:t>Source:  “Do More than Grow” 2012 publication</a:t>
            </a:r>
            <a:endParaRPr lang="en-US" sz="900" dirty="0"/>
          </a:p>
        </p:txBody>
      </p:sp>
      <p:sp>
        <p:nvSpPr>
          <p:cNvPr id="55" name="Oval 54"/>
          <p:cNvSpPr/>
          <p:nvPr>
            <p:custDataLst>
              <p:tags r:id="rId1"/>
            </p:custDataLst>
          </p:nvPr>
        </p:nvSpPr>
        <p:spPr>
          <a:xfrm>
            <a:off x="2819400" y="1913278"/>
            <a:ext cx="76200" cy="76200"/>
          </a:xfrm>
          <a:prstGeom prst="ellipse">
            <a:avLst/>
          </a:prstGeom>
          <a:gradFill rotWithShape="1">
            <a:gsLst>
              <a:gs pos="0">
                <a:srgbClr val="FA9600">
                  <a:shade val="51000"/>
                  <a:satMod val="130000"/>
                </a:srgbClr>
              </a:gs>
              <a:gs pos="80000">
                <a:srgbClr val="FA9600">
                  <a:shade val="93000"/>
                  <a:satMod val="130000"/>
                </a:srgbClr>
              </a:gs>
              <a:gs pos="100000">
                <a:srgbClr val="FA9600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A9600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Oval 55"/>
          <p:cNvSpPr/>
          <p:nvPr>
            <p:custDataLst>
              <p:tags r:id="rId2"/>
            </p:custDataLst>
          </p:nvPr>
        </p:nvSpPr>
        <p:spPr>
          <a:xfrm>
            <a:off x="4648200" y="1913278"/>
            <a:ext cx="76200" cy="76200"/>
          </a:xfrm>
          <a:prstGeom prst="ellipse">
            <a:avLst/>
          </a:prstGeom>
          <a:gradFill rotWithShape="1">
            <a:gsLst>
              <a:gs pos="0">
                <a:srgbClr val="FA9600">
                  <a:shade val="51000"/>
                  <a:satMod val="130000"/>
                </a:srgbClr>
              </a:gs>
              <a:gs pos="80000">
                <a:srgbClr val="FA9600">
                  <a:shade val="93000"/>
                  <a:satMod val="130000"/>
                </a:srgbClr>
              </a:gs>
              <a:gs pos="100000">
                <a:srgbClr val="FA9600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A9600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Oval 56"/>
          <p:cNvSpPr/>
          <p:nvPr>
            <p:custDataLst>
              <p:tags r:id="rId3"/>
            </p:custDataLst>
          </p:nvPr>
        </p:nvSpPr>
        <p:spPr>
          <a:xfrm>
            <a:off x="6477000" y="1913278"/>
            <a:ext cx="76200" cy="76200"/>
          </a:xfrm>
          <a:prstGeom prst="ellipse">
            <a:avLst/>
          </a:prstGeom>
          <a:gradFill rotWithShape="1">
            <a:gsLst>
              <a:gs pos="0">
                <a:srgbClr val="FA9600">
                  <a:shade val="51000"/>
                  <a:satMod val="130000"/>
                </a:srgbClr>
              </a:gs>
              <a:gs pos="80000">
                <a:srgbClr val="FA9600">
                  <a:shade val="93000"/>
                  <a:satMod val="130000"/>
                </a:srgbClr>
              </a:gs>
              <a:gs pos="100000">
                <a:srgbClr val="FA9600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A9600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8" name="Group 57"/>
          <p:cNvGrpSpPr/>
          <p:nvPr>
            <p:custDataLst>
              <p:tags r:id="rId4"/>
            </p:custDataLst>
          </p:nvPr>
        </p:nvGrpSpPr>
        <p:grpSpPr>
          <a:xfrm>
            <a:off x="2590800" y="2769592"/>
            <a:ext cx="4191000" cy="152400"/>
            <a:chOff x="1981200" y="2362200"/>
            <a:chExt cx="3962400" cy="152400"/>
          </a:xfrm>
        </p:grpSpPr>
        <p:cxnSp>
          <p:nvCxnSpPr>
            <p:cNvPr id="59" name="Straight Connector 58"/>
            <p:cNvCxnSpPr/>
            <p:nvPr/>
          </p:nvCxnSpPr>
          <p:spPr>
            <a:xfrm>
              <a:off x="1981200" y="2362200"/>
              <a:ext cx="0" cy="152400"/>
            </a:xfrm>
            <a:prstGeom prst="line">
              <a:avLst/>
            </a:prstGeom>
            <a:noFill/>
            <a:ln w="38100" cap="flat" cmpd="sng" algn="ctr">
              <a:solidFill>
                <a:srgbClr val="FA9600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60" name="Straight Connector 59"/>
            <p:cNvCxnSpPr/>
            <p:nvPr/>
          </p:nvCxnSpPr>
          <p:spPr>
            <a:xfrm>
              <a:off x="5943600" y="2362200"/>
              <a:ext cx="0" cy="152400"/>
            </a:xfrm>
            <a:prstGeom prst="line">
              <a:avLst/>
            </a:prstGeom>
            <a:noFill/>
            <a:ln w="38100" cap="flat" cmpd="sng" algn="ctr">
              <a:solidFill>
                <a:srgbClr val="FA9600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61" name="Straight Connector 60"/>
            <p:cNvCxnSpPr/>
            <p:nvPr/>
          </p:nvCxnSpPr>
          <p:spPr>
            <a:xfrm>
              <a:off x="1981200" y="2438400"/>
              <a:ext cx="3962400" cy="0"/>
            </a:xfrm>
            <a:prstGeom prst="line">
              <a:avLst/>
            </a:prstGeom>
            <a:noFill/>
            <a:ln w="38100" cap="flat" cmpd="sng" algn="ctr">
              <a:solidFill>
                <a:srgbClr val="FA9600">
                  <a:shade val="95000"/>
                  <a:satMod val="105000"/>
                </a:srgbClr>
              </a:solidFill>
              <a:prstDash val="solid"/>
            </a:ln>
            <a:effectLst/>
          </p:spPr>
        </p:cxnSp>
      </p:grpSp>
      <p:sp>
        <p:nvSpPr>
          <p:cNvPr id="62" name="TextBox 61"/>
          <p:cNvSpPr txBox="1"/>
          <p:nvPr>
            <p:custDataLst>
              <p:tags r:id="rId5"/>
            </p:custDataLst>
          </p:nvPr>
        </p:nvSpPr>
        <p:spPr>
          <a:xfrm>
            <a:off x="772155" y="2661126"/>
            <a:ext cx="181864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Grow assets and grantmaking  through DAFs</a:t>
            </a:r>
          </a:p>
        </p:txBody>
      </p:sp>
      <p:sp>
        <p:nvSpPr>
          <p:cNvPr id="63" name="TextBox 62"/>
          <p:cNvSpPr txBox="1"/>
          <p:nvPr>
            <p:custDataLst>
              <p:tags r:id="rId6"/>
            </p:custDataLst>
          </p:nvPr>
        </p:nvSpPr>
        <p:spPr>
          <a:xfrm>
            <a:off x="6705600" y="2661126"/>
            <a:ext cx="213360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Grow grantmaking through DAFs and assets through funds other than DAFs</a:t>
            </a:r>
          </a:p>
        </p:txBody>
      </p:sp>
      <p:grpSp>
        <p:nvGrpSpPr>
          <p:cNvPr id="64" name="Group 63"/>
          <p:cNvGrpSpPr/>
          <p:nvPr>
            <p:custDataLst>
              <p:tags r:id="rId7"/>
            </p:custDataLst>
          </p:nvPr>
        </p:nvGrpSpPr>
        <p:grpSpPr>
          <a:xfrm>
            <a:off x="2590800" y="3396069"/>
            <a:ext cx="4191000" cy="152400"/>
            <a:chOff x="1981200" y="2362200"/>
            <a:chExt cx="3962400" cy="152400"/>
          </a:xfrm>
        </p:grpSpPr>
        <p:cxnSp>
          <p:nvCxnSpPr>
            <p:cNvPr id="65" name="Straight Connector 64"/>
            <p:cNvCxnSpPr/>
            <p:nvPr/>
          </p:nvCxnSpPr>
          <p:spPr>
            <a:xfrm>
              <a:off x="1981200" y="2362200"/>
              <a:ext cx="0" cy="152400"/>
            </a:xfrm>
            <a:prstGeom prst="line">
              <a:avLst/>
            </a:prstGeom>
            <a:noFill/>
            <a:ln w="38100" cap="flat" cmpd="sng" algn="ctr">
              <a:solidFill>
                <a:srgbClr val="FA9600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66" name="Straight Connector 65"/>
            <p:cNvCxnSpPr/>
            <p:nvPr/>
          </p:nvCxnSpPr>
          <p:spPr>
            <a:xfrm>
              <a:off x="5943600" y="2362200"/>
              <a:ext cx="0" cy="152400"/>
            </a:xfrm>
            <a:prstGeom prst="line">
              <a:avLst/>
            </a:prstGeom>
            <a:noFill/>
            <a:ln w="38100" cap="flat" cmpd="sng" algn="ctr">
              <a:solidFill>
                <a:srgbClr val="FA9600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67" name="Straight Connector 66"/>
            <p:cNvCxnSpPr/>
            <p:nvPr/>
          </p:nvCxnSpPr>
          <p:spPr>
            <a:xfrm>
              <a:off x="1981200" y="2438400"/>
              <a:ext cx="3962400" cy="0"/>
            </a:xfrm>
            <a:prstGeom prst="line">
              <a:avLst/>
            </a:prstGeom>
            <a:noFill/>
            <a:ln w="38100" cap="flat" cmpd="sng" algn="ctr">
              <a:solidFill>
                <a:srgbClr val="FA9600">
                  <a:shade val="95000"/>
                  <a:satMod val="105000"/>
                </a:srgbClr>
              </a:solidFill>
              <a:prstDash val="solid"/>
            </a:ln>
            <a:effectLst/>
          </p:spPr>
        </p:cxnSp>
      </p:grpSp>
      <p:sp>
        <p:nvSpPr>
          <p:cNvPr id="68" name="TextBox 67"/>
          <p:cNvSpPr txBox="1"/>
          <p:nvPr>
            <p:custDataLst>
              <p:tags r:id="rId8"/>
            </p:custDataLst>
          </p:nvPr>
        </p:nvSpPr>
        <p:spPr>
          <a:xfrm>
            <a:off x="772155" y="3287603"/>
            <a:ext cx="181864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</a:rPr>
              <a:t>Increase grantmaking today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9" name="TextBox 68"/>
          <p:cNvSpPr txBox="1"/>
          <p:nvPr>
            <p:custDataLst>
              <p:tags r:id="rId9"/>
            </p:custDataLst>
          </p:nvPr>
        </p:nvSpPr>
        <p:spPr>
          <a:xfrm>
            <a:off x="6705600" y="3287603"/>
            <a:ext cx="21336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</a:rPr>
              <a:t>Increase grantmaking for the future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70" name="Group 69"/>
          <p:cNvGrpSpPr/>
          <p:nvPr>
            <p:custDataLst>
              <p:tags r:id="rId10"/>
            </p:custDataLst>
          </p:nvPr>
        </p:nvGrpSpPr>
        <p:grpSpPr>
          <a:xfrm>
            <a:off x="2590800" y="4615269"/>
            <a:ext cx="4191000" cy="152400"/>
            <a:chOff x="1981200" y="2362200"/>
            <a:chExt cx="3962400" cy="152400"/>
          </a:xfrm>
        </p:grpSpPr>
        <p:cxnSp>
          <p:nvCxnSpPr>
            <p:cNvPr id="71" name="Straight Connector 70"/>
            <p:cNvCxnSpPr/>
            <p:nvPr/>
          </p:nvCxnSpPr>
          <p:spPr>
            <a:xfrm>
              <a:off x="1981200" y="2362200"/>
              <a:ext cx="0" cy="152400"/>
            </a:xfrm>
            <a:prstGeom prst="line">
              <a:avLst/>
            </a:prstGeom>
            <a:noFill/>
            <a:ln w="38100" cap="flat" cmpd="sng" algn="ctr">
              <a:solidFill>
                <a:srgbClr val="FA9600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72" name="Straight Connector 71"/>
            <p:cNvCxnSpPr/>
            <p:nvPr/>
          </p:nvCxnSpPr>
          <p:spPr>
            <a:xfrm>
              <a:off x="5943600" y="2362200"/>
              <a:ext cx="0" cy="152400"/>
            </a:xfrm>
            <a:prstGeom prst="line">
              <a:avLst/>
            </a:prstGeom>
            <a:noFill/>
            <a:ln w="38100" cap="flat" cmpd="sng" algn="ctr">
              <a:solidFill>
                <a:srgbClr val="FA9600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73" name="Straight Connector 72"/>
            <p:cNvCxnSpPr/>
            <p:nvPr/>
          </p:nvCxnSpPr>
          <p:spPr>
            <a:xfrm>
              <a:off x="1981200" y="2438400"/>
              <a:ext cx="3962400" cy="0"/>
            </a:xfrm>
            <a:prstGeom prst="line">
              <a:avLst/>
            </a:prstGeom>
            <a:noFill/>
            <a:ln w="38100" cap="flat" cmpd="sng" algn="ctr">
              <a:solidFill>
                <a:srgbClr val="FA9600">
                  <a:shade val="95000"/>
                  <a:satMod val="105000"/>
                </a:srgbClr>
              </a:solidFill>
              <a:prstDash val="solid"/>
            </a:ln>
            <a:effectLst/>
          </p:spPr>
        </p:cxnSp>
      </p:grpSp>
      <p:sp>
        <p:nvSpPr>
          <p:cNvPr id="74" name="TextBox 73"/>
          <p:cNvSpPr txBox="1"/>
          <p:nvPr>
            <p:custDataLst>
              <p:tags r:id="rId11"/>
            </p:custDataLst>
          </p:nvPr>
        </p:nvSpPr>
        <p:spPr>
          <a:xfrm>
            <a:off x="772155" y="4506803"/>
            <a:ext cx="181864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</a:rPr>
              <a:t>Promote grantmaking to organizations anywhere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5" name="TextBox 74"/>
          <p:cNvSpPr txBox="1"/>
          <p:nvPr>
            <p:custDataLst>
              <p:tags r:id="rId12"/>
            </p:custDataLst>
          </p:nvPr>
        </p:nvSpPr>
        <p:spPr>
          <a:xfrm>
            <a:off x="6781800" y="4506803"/>
            <a:ext cx="20574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</a:rPr>
              <a:t>Promote grantmaking to local organization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76" name="Group 75"/>
          <p:cNvGrpSpPr/>
          <p:nvPr>
            <p:custDataLst>
              <p:tags r:id="rId13"/>
            </p:custDataLst>
          </p:nvPr>
        </p:nvGrpSpPr>
        <p:grpSpPr>
          <a:xfrm>
            <a:off x="2590800" y="5207992"/>
            <a:ext cx="4191000" cy="152400"/>
            <a:chOff x="1981200" y="2362200"/>
            <a:chExt cx="3962400" cy="152400"/>
          </a:xfrm>
        </p:grpSpPr>
        <p:cxnSp>
          <p:nvCxnSpPr>
            <p:cNvPr id="77" name="Straight Connector 76"/>
            <p:cNvCxnSpPr/>
            <p:nvPr/>
          </p:nvCxnSpPr>
          <p:spPr>
            <a:xfrm>
              <a:off x="1981200" y="2362200"/>
              <a:ext cx="0" cy="152400"/>
            </a:xfrm>
            <a:prstGeom prst="line">
              <a:avLst/>
            </a:prstGeom>
            <a:noFill/>
            <a:ln w="38100" cap="flat" cmpd="sng" algn="ctr">
              <a:solidFill>
                <a:srgbClr val="FA9600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78" name="Straight Connector 77"/>
            <p:cNvCxnSpPr/>
            <p:nvPr/>
          </p:nvCxnSpPr>
          <p:spPr>
            <a:xfrm>
              <a:off x="5943600" y="2362200"/>
              <a:ext cx="0" cy="152400"/>
            </a:xfrm>
            <a:prstGeom prst="line">
              <a:avLst/>
            </a:prstGeom>
            <a:noFill/>
            <a:ln w="38100" cap="flat" cmpd="sng" algn="ctr">
              <a:solidFill>
                <a:srgbClr val="FA9600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79" name="Straight Connector 78"/>
            <p:cNvCxnSpPr/>
            <p:nvPr/>
          </p:nvCxnSpPr>
          <p:spPr>
            <a:xfrm>
              <a:off x="1981200" y="2438400"/>
              <a:ext cx="3962400" cy="0"/>
            </a:xfrm>
            <a:prstGeom prst="line">
              <a:avLst/>
            </a:prstGeom>
            <a:noFill/>
            <a:ln w="38100" cap="flat" cmpd="sng" algn="ctr">
              <a:solidFill>
                <a:srgbClr val="FA9600">
                  <a:shade val="95000"/>
                  <a:satMod val="105000"/>
                </a:srgbClr>
              </a:solidFill>
              <a:prstDash val="solid"/>
            </a:ln>
            <a:effectLst/>
          </p:spPr>
        </p:cxnSp>
      </p:grpSp>
      <p:sp>
        <p:nvSpPr>
          <p:cNvPr id="80" name="TextBox 79"/>
          <p:cNvSpPr txBox="1"/>
          <p:nvPr>
            <p:custDataLst>
              <p:tags r:id="rId14"/>
            </p:custDataLst>
          </p:nvPr>
        </p:nvSpPr>
        <p:spPr>
          <a:xfrm>
            <a:off x="772155" y="5099526"/>
            <a:ext cx="181864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</a:rPr>
              <a:t>DAFs are a “loss-leader” to bring in other fund type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1" name="TextBox 80"/>
          <p:cNvSpPr txBox="1"/>
          <p:nvPr>
            <p:custDataLst>
              <p:tags r:id="rId15"/>
            </p:custDataLst>
          </p:nvPr>
        </p:nvSpPr>
        <p:spPr>
          <a:xfrm>
            <a:off x="6705600" y="5099526"/>
            <a:ext cx="213360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</a:rPr>
              <a:t>DAFs should generate a surplus to support other areas of our operations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2" name="TextBox 81"/>
          <p:cNvSpPr txBox="1"/>
          <p:nvPr>
            <p:custDataLst>
              <p:tags r:id="rId16"/>
            </p:custDataLst>
          </p:nvPr>
        </p:nvSpPr>
        <p:spPr>
          <a:xfrm>
            <a:off x="-457200" y="2668567"/>
            <a:ext cx="1219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cs typeface="Calibri" pitchFamily="34" charset="0"/>
              </a:rPr>
              <a:t> 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cs typeface="Calibri" pitchFamily="34" charset="0"/>
              </a:rPr>
              <a:t>2</a:t>
            </a:r>
            <a:r>
              <a: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cs typeface="Calibri" pitchFamily="34" charset="0"/>
              </a:rPr>
              <a:t>  </a:t>
            </a:r>
          </a:p>
        </p:txBody>
      </p:sp>
      <p:sp>
        <p:nvSpPr>
          <p:cNvPr id="83" name="TextBox 82"/>
          <p:cNvSpPr txBox="1"/>
          <p:nvPr>
            <p:custDataLst>
              <p:tags r:id="rId17"/>
            </p:custDataLst>
          </p:nvPr>
        </p:nvSpPr>
        <p:spPr>
          <a:xfrm>
            <a:off x="-457200" y="3212147"/>
            <a:ext cx="1219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cs typeface="Calibri" pitchFamily="34" charset="0"/>
              </a:rPr>
              <a:t> 3</a:t>
            </a: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cs typeface="Calibri" pitchFamily="34" charset="0"/>
              </a:rPr>
              <a:t>  </a:t>
            </a:r>
          </a:p>
        </p:txBody>
      </p:sp>
      <p:sp>
        <p:nvSpPr>
          <p:cNvPr id="84" name="TextBox 83"/>
          <p:cNvSpPr txBox="1"/>
          <p:nvPr>
            <p:custDataLst>
              <p:tags r:id="rId18"/>
            </p:custDataLst>
          </p:nvPr>
        </p:nvSpPr>
        <p:spPr>
          <a:xfrm>
            <a:off x="-457200" y="4431347"/>
            <a:ext cx="1219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cs typeface="Calibri" pitchFamily="34" charset="0"/>
              </a:rPr>
              <a:t> 5</a:t>
            </a: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cs typeface="Calibri" pitchFamily="34" charset="0"/>
              </a:rPr>
              <a:t>   </a:t>
            </a:r>
          </a:p>
        </p:txBody>
      </p:sp>
      <p:sp>
        <p:nvSpPr>
          <p:cNvPr id="85" name="TextBox 84"/>
          <p:cNvSpPr txBox="1"/>
          <p:nvPr>
            <p:custDataLst>
              <p:tags r:id="rId19"/>
            </p:custDataLst>
          </p:nvPr>
        </p:nvSpPr>
        <p:spPr>
          <a:xfrm>
            <a:off x="-457200" y="5030767"/>
            <a:ext cx="1219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cs typeface="Calibri" pitchFamily="34" charset="0"/>
              </a:rPr>
              <a:t> 6</a:t>
            </a: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cs typeface="Calibri" pitchFamily="34" charset="0"/>
              </a:rPr>
              <a:t>   </a:t>
            </a:r>
          </a:p>
        </p:txBody>
      </p:sp>
      <p:grpSp>
        <p:nvGrpSpPr>
          <p:cNvPr id="86" name="Group 85"/>
          <p:cNvGrpSpPr/>
          <p:nvPr/>
        </p:nvGrpSpPr>
        <p:grpSpPr>
          <a:xfrm>
            <a:off x="5029200" y="5106967"/>
            <a:ext cx="391155" cy="348536"/>
            <a:chOff x="5029200" y="5407223"/>
            <a:chExt cx="391155" cy="348536"/>
          </a:xfrm>
        </p:grpSpPr>
        <p:sp>
          <p:nvSpPr>
            <p:cNvPr id="87" name="Oval 86"/>
            <p:cNvSpPr/>
            <p:nvPr>
              <p:custDataLst>
                <p:tags r:id="rId40"/>
              </p:custDataLst>
            </p:nvPr>
          </p:nvSpPr>
          <p:spPr>
            <a:xfrm>
              <a:off x="5029200" y="5407223"/>
              <a:ext cx="391155" cy="348536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92D05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8" name="Picture 4"/>
            <p:cNvPicPr>
              <a:picLocks noChangeAspect="1" noChangeArrowheads="1"/>
            </p:cNvPicPr>
            <p:nvPr>
              <p:custDataLst>
                <p:tags r:id="rId41"/>
              </p:custDataLst>
            </p:nvPr>
          </p:nvPicPr>
          <p:blipFill rotWithShape="1">
            <a:blip r:embed="rId43" cstate="print">
              <a:extLst>
                <a:ext uri="{BEBA8EAE-BF5A-486C-A8C5-ECC9F3942E4B}">
                  <a14:imgProps xmlns:a14="http://schemas.microsoft.com/office/drawing/2010/main">
                    <a14:imgLayer r:embed="rId44">
                      <a14:imgEffect>
                        <a14:sharpenSoften amount="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402" r="10498" b="16782"/>
            <a:stretch/>
          </p:blipFill>
          <p:spPr bwMode="auto">
            <a:xfrm>
              <a:off x="5117857" y="5464207"/>
              <a:ext cx="224267" cy="2497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9" name="Group 88"/>
          <p:cNvGrpSpPr/>
          <p:nvPr/>
        </p:nvGrpSpPr>
        <p:grpSpPr>
          <a:xfrm>
            <a:off x="5638800" y="4497367"/>
            <a:ext cx="391155" cy="348536"/>
            <a:chOff x="5638800" y="4797623"/>
            <a:chExt cx="391155" cy="348536"/>
          </a:xfrm>
        </p:grpSpPr>
        <p:sp>
          <p:nvSpPr>
            <p:cNvPr id="90" name="Oval 89"/>
            <p:cNvSpPr/>
            <p:nvPr>
              <p:custDataLst>
                <p:tags r:id="rId38"/>
              </p:custDataLst>
            </p:nvPr>
          </p:nvSpPr>
          <p:spPr>
            <a:xfrm>
              <a:off x="5638800" y="4797623"/>
              <a:ext cx="391155" cy="348536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92D05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91" name="Picture 4"/>
            <p:cNvPicPr>
              <a:picLocks noChangeAspect="1" noChangeArrowheads="1"/>
            </p:cNvPicPr>
            <p:nvPr>
              <p:custDataLst>
                <p:tags r:id="rId39"/>
              </p:custDataLst>
            </p:nvPr>
          </p:nvPicPr>
          <p:blipFill rotWithShape="1">
            <a:blip r:embed="rId43" cstate="print">
              <a:extLst>
                <a:ext uri="{BEBA8EAE-BF5A-486C-A8C5-ECC9F3942E4B}">
                  <a14:imgProps xmlns:a14="http://schemas.microsoft.com/office/drawing/2010/main">
                    <a14:imgLayer r:embed="rId44">
                      <a14:imgEffect>
                        <a14:sharpenSoften amount="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402" r="10498" b="16782"/>
            <a:stretch/>
          </p:blipFill>
          <p:spPr bwMode="auto">
            <a:xfrm>
              <a:off x="5727457" y="4854607"/>
              <a:ext cx="224267" cy="2497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2" name="Group 91"/>
          <p:cNvGrpSpPr/>
          <p:nvPr/>
        </p:nvGrpSpPr>
        <p:grpSpPr>
          <a:xfrm>
            <a:off x="5105400" y="2668567"/>
            <a:ext cx="391155" cy="348536"/>
            <a:chOff x="5105400" y="2968823"/>
            <a:chExt cx="391155" cy="348536"/>
          </a:xfrm>
        </p:grpSpPr>
        <p:sp>
          <p:nvSpPr>
            <p:cNvPr id="93" name="Oval 92"/>
            <p:cNvSpPr/>
            <p:nvPr>
              <p:custDataLst>
                <p:tags r:id="rId36"/>
              </p:custDataLst>
            </p:nvPr>
          </p:nvSpPr>
          <p:spPr>
            <a:xfrm>
              <a:off x="5105400" y="2968823"/>
              <a:ext cx="391155" cy="348536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92D05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94" name="Picture 4"/>
            <p:cNvPicPr>
              <a:picLocks noChangeAspect="1" noChangeArrowheads="1"/>
            </p:cNvPicPr>
            <p:nvPr>
              <p:custDataLst>
                <p:tags r:id="rId37"/>
              </p:custDataLst>
            </p:nvPr>
          </p:nvPicPr>
          <p:blipFill rotWithShape="1">
            <a:blip r:embed="rId43" cstate="print">
              <a:extLst>
                <a:ext uri="{BEBA8EAE-BF5A-486C-A8C5-ECC9F3942E4B}">
                  <a14:imgProps xmlns:a14="http://schemas.microsoft.com/office/drawing/2010/main">
                    <a14:imgLayer r:embed="rId44">
                      <a14:imgEffect>
                        <a14:sharpenSoften amount="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402" r="10498" b="16782"/>
            <a:stretch/>
          </p:blipFill>
          <p:spPr bwMode="auto">
            <a:xfrm>
              <a:off x="5194057" y="3025807"/>
              <a:ext cx="224267" cy="2497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95" name="Group 94"/>
          <p:cNvGrpSpPr/>
          <p:nvPr/>
        </p:nvGrpSpPr>
        <p:grpSpPr>
          <a:xfrm>
            <a:off x="772155" y="3880326"/>
            <a:ext cx="8067045" cy="600164"/>
            <a:chOff x="1305555" y="2177534"/>
            <a:chExt cx="8067045" cy="600164"/>
          </a:xfrm>
        </p:grpSpPr>
        <p:grpSp>
          <p:nvGrpSpPr>
            <p:cNvPr id="96" name="Group 95"/>
            <p:cNvGrpSpPr/>
            <p:nvPr>
              <p:custDataLst>
                <p:tags r:id="rId33"/>
              </p:custDataLst>
            </p:nvPr>
          </p:nvGrpSpPr>
          <p:grpSpPr>
            <a:xfrm>
              <a:off x="3124200" y="2286000"/>
              <a:ext cx="4191000" cy="152400"/>
              <a:chOff x="1981200" y="2362200"/>
              <a:chExt cx="3962400" cy="152400"/>
            </a:xfrm>
          </p:grpSpPr>
          <p:cxnSp>
            <p:nvCxnSpPr>
              <p:cNvPr id="99" name="Straight Connector 98"/>
              <p:cNvCxnSpPr/>
              <p:nvPr/>
            </p:nvCxnSpPr>
            <p:spPr>
              <a:xfrm>
                <a:off x="1981200" y="2362200"/>
                <a:ext cx="0" cy="152400"/>
              </a:xfrm>
              <a:prstGeom prst="line">
                <a:avLst/>
              </a:prstGeom>
              <a:noFill/>
              <a:ln w="38100" cap="flat" cmpd="sng" algn="ctr">
                <a:solidFill>
                  <a:srgbClr val="FA9600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100" name="Straight Connector 99"/>
              <p:cNvCxnSpPr/>
              <p:nvPr/>
            </p:nvCxnSpPr>
            <p:spPr>
              <a:xfrm>
                <a:off x="5943600" y="2362200"/>
                <a:ext cx="0" cy="152400"/>
              </a:xfrm>
              <a:prstGeom prst="line">
                <a:avLst/>
              </a:prstGeom>
              <a:noFill/>
              <a:ln w="38100" cap="flat" cmpd="sng" algn="ctr">
                <a:solidFill>
                  <a:srgbClr val="FA9600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101" name="Straight Connector 100"/>
              <p:cNvCxnSpPr/>
              <p:nvPr/>
            </p:nvCxnSpPr>
            <p:spPr>
              <a:xfrm>
                <a:off x="1981200" y="2438400"/>
                <a:ext cx="3962400" cy="0"/>
              </a:xfrm>
              <a:prstGeom prst="line">
                <a:avLst/>
              </a:prstGeom>
              <a:noFill/>
              <a:ln w="38100" cap="flat" cmpd="sng" algn="ctr">
                <a:solidFill>
                  <a:srgbClr val="FA9600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</p:grpSp>
        <p:sp>
          <p:nvSpPr>
            <p:cNvPr id="97" name="TextBox 96"/>
            <p:cNvSpPr txBox="1"/>
            <p:nvPr>
              <p:custDataLst>
                <p:tags r:id="rId34"/>
              </p:custDataLst>
            </p:nvPr>
          </p:nvSpPr>
          <p:spPr>
            <a:xfrm>
              <a:off x="1305555" y="2177534"/>
              <a:ext cx="1818645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Support DAF grantmaking that meets donors’ priorities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8" name="TextBox 97"/>
            <p:cNvSpPr txBox="1"/>
            <p:nvPr>
              <p:custDataLst>
                <p:tags r:id="rId35"/>
              </p:custDataLst>
            </p:nvPr>
          </p:nvSpPr>
          <p:spPr>
            <a:xfrm>
              <a:off x="7239000" y="2177534"/>
              <a:ext cx="2133600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Align DAF grantmaking with priorities identified by the CF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02" name="TextBox 101"/>
          <p:cNvSpPr txBox="1"/>
          <p:nvPr>
            <p:custDataLst>
              <p:tags r:id="rId20"/>
            </p:custDataLst>
          </p:nvPr>
        </p:nvSpPr>
        <p:spPr>
          <a:xfrm>
            <a:off x="-457200" y="3811567"/>
            <a:ext cx="1219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cs typeface="Calibri" pitchFamily="34" charset="0"/>
              </a:rPr>
              <a:t> 4</a:t>
            </a:r>
            <a:r>
              <a:rPr kumimoji="0" 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cs typeface="Calibri" pitchFamily="34" charset="0"/>
              </a:rPr>
              <a:t>   </a:t>
            </a:r>
          </a:p>
        </p:txBody>
      </p:sp>
      <p:grpSp>
        <p:nvGrpSpPr>
          <p:cNvPr id="103" name="Group 102"/>
          <p:cNvGrpSpPr/>
          <p:nvPr/>
        </p:nvGrpSpPr>
        <p:grpSpPr>
          <a:xfrm>
            <a:off x="5019045" y="3887767"/>
            <a:ext cx="391155" cy="348536"/>
            <a:chOff x="685800" y="5367253"/>
            <a:chExt cx="762000" cy="728748"/>
          </a:xfrm>
        </p:grpSpPr>
        <p:sp>
          <p:nvSpPr>
            <p:cNvPr id="104" name="Oval 103"/>
            <p:cNvSpPr/>
            <p:nvPr>
              <p:custDataLst>
                <p:tags r:id="rId31"/>
              </p:custDataLst>
            </p:nvPr>
          </p:nvSpPr>
          <p:spPr>
            <a:xfrm>
              <a:off x="685800" y="5367253"/>
              <a:ext cx="762000" cy="728748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92D05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05" name="Picture 4"/>
            <p:cNvPicPr>
              <a:picLocks noChangeAspect="1" noChangeArrowheads="1"/>
            </p:cNvPicPr>
            <p:nvPr>
              <p:custDataLst>
                <p:tags r:id="rId32"/>
              </p:custDataLst>
            </p:nvPr>
          </p:nvPicPr>
          <p:blipFill rotWithShape="1">
            <a:blip r:embed="rId43" cstate="print">
              <a:extLst>
                <a:ext uri="{BEBA8EAE-BF5A-486C-A8C5-ECC9F3942E4B}">
                  <a14:imgProps xmlns:a14="http://schemas.microsoft.com/office/drawing/2010/main">
                    <a14:imgLayer r:embed="rId44">
                      <a14:imgEffect>
                        <a14:sharpenSoften amount="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402" r="10498" b="16782"/>
            <a:stretch/>
          </p:blipFill>
          <p:spPr bwMode="auto">
            <a:xfrm>
              <a:off x="858511" y="5486400"/>
              <a:ext cx="436889" cy="5222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06" name="Group 105"/>
          <p:cNvGrpSpPr/>
          <p:nvPr/>
        </p:nvGrpSpPr>
        <p:grpSpPr>
          <a:xfrm>
            <a:off x="-457200" y="2058967"/>
            <a:ext cx="9296400" cy="632444"/>
            <a:chOff x="76200" y="2145254"/>
            <a:chExt cx="9296400" cy="632444"/>
          </a:xfrm>
        </p:grpSpPr>
        <p:grpSp>
          <p:nvGrpSpPr>
            <p:cNvPr id="107" name="Group 106"/>
            <p:cNvGrpSpPr/>
            <p:nvPr>
              <p:custDataLst>
                <p:tags r:id="rId27"/>
              </p:custDataLst>
            </p:nvPr>
          </p:nvGrpSpPr>
          <p:grpSpPr>
            <a:xfrm>
              <a:off x="3124200" y="2286000"/>
              <a:ext cx="4191000" cy="152400"/>
              <a:chOff x="1981200" y="2362200"/>
              <a:chExt cx="3962400" cy="152400"/>
            </a:xfrm>
          </p:grpSpPr>
          <p:cxnSp>
            <p:nvCxnSpPr>
              <p:cNvPr id="111" name="Straight Connector 110"/>
              <p:cNvCxnSpPr/>
              <p:nvPr/>
            </p:nvCxnSpPr>
            <p:spPr>
              <a:xfrm>
                <a:off x="1981200" y="2362200"/>
                <a:ext cx="0" cy="152400"/>
              </a:xfrm>
              <a:prstGeom prst="line">
                <a:avLst/>
              </a:prstGeom>
              <a:noFill/>
              <a:ln w="38100" cap="flat" cmpd="sng" algn="ctr">
                <a:solidFill>
                  <a:srgbClr val="FA9600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112" name="Straight Connector 111"/>
              <p:cNvCxnSpPr/>
              <p:nvPr/>
            </p:nvCxnSpPr>
            <p:spPr>
              <a:xfrm>
                <a:off x="5943600" y="2362200"/>
                <a:ext cx="0" cy="152400"/>
              </a:xfrm>
              <a:prstGeom prst="line">
                <a:avLst/>
              </a:prstGeom>
              <a:noFill/>
              <a:ln w="38100" cap="flat" cmpd="sng" algn="ctr">
                <a:solidFill>
                  <a:srgbClr val="FA9600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  <p:cxnSp>
            <p:nvCxnSpPr>
              <p:cNvPr id="113" name="Straight Connector 112"/>
              <p:cNvCxnSpPr/>
              <p:nvPr/>
            </p:nvCxnSpPr>
            <p:spPr>
              <a:xfrm>
                <a:off x="1981200" y="2438400"/>
                <a:ext cx="3962400" cy="0"/>
              </a:xfrm>
              <a:prstGeom prst="line">
                <a:avLst/>
              </a:prstGeom>
              <a:noFill/>
              <a:ln w="38100" cap="flat" cmpd="sng" algn="ctr">
                <a:solidFill>
                  <a:srgbClr val="FA9600">
                    <a:shade val="95000"/>
                    <a:satMod val="105000"/>
                  </a:srgbClr>
                </a:solidFill>
                <a:prstDash val="solid"/>
              </a:ln>
              <a:effectLst/>
            </p:spPr>
          </p:cxnSp>
        </p:grpSp>
        <p:sp>
          <p:nvSpPr>
            <p:cNvPr id="108" name="TextBox 107"/>
            <p:cNvSpPr txBox="1"/>
            <p:nvPr>
              <p:custDataLst>
                <p:tags r:id="rId28"/>
              </p:custDataLst>
            </p:nvPr>
          </p:nvSpPr>
          <p:spPr>
            <a:xfrm>
              <a:off x="76200" y="2145254"/>
              <a:ext cx="12192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cs typeface="Calibri" pitchFamily="34" charset="0"/>
                </a:rPr>
                <a:t> </a:t>
              </a:r>
              <a:r>
                <a:rPr kumimoji="0" lang="en-US" sz="2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cs typeface="Calibri" pitchFamily="34" charset="0"/>
                </a:rPr>
                <a:t>1</a:t>
              </a:r>
              <a:r>
                <a:rPr kumimoji="0" lang="en-US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cs typeface="Calibri" pitchFamily="34" charset="0"/>
                </a:rPr>
                <a:t>  </a:t>
              </a:r>
            </a:p>
          </p:txBody>
        </p:sp>
        <p:sp>
          <p:nvSpPr>
            <p:cNvPr id="109" name="TextBox 108"/>
            <p:cNvSpPr txBox="1"/>
            <p:nvPr>
              <p:custDataLst>
                <p:tags r:id="rId29"/>
              </p:custDataLst>
            </p:nvPr>
          </p:nvSpPr>
          <p:spPr>
            <a:xfrm>
              <a:off x="1305555" y="2177534"/>
              <a:ext cx="181864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Position DAFs as a stand-alone offering</a:t>
              </a:r>
            </a:p>
          </p:txBody>
        </p:sp>
        <p:sp>
          <p:nvSpPr>
            <p:cNvPr id="110" name="TextBox 109"/>
            <p:cNvSpPr txBox="1"/>
            <p:nvPr>
              <p:custDataLst>
                <p:tags r:id="rId30"/>
              </p:custDataLst>
            </p:nvPr>
          </p:nvSpPr>
          <p:spPr>
            <a:xfrm>
              <a:off x="7239000" y="2177534"/>
              <a:ext cx="2133600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Position DAFs as an entry-point to grow more flexible assets</a:t>
              </a:r>
            </a:p>
          </p:txBody>
        </p:sp>
      </p:grpSp>
      <p:grpSp>
        <p:nvGrpSpPr>
          <p:cNvPr id="114" name="Group 113"/>
          <p:cNvGrpSpPr/>
          <p:nvPr/>
        </p:nvGrpSpPr>
        <p:grpSpPr>
          <a:xfrm>
            <a:off x="5867400" y="2091431"/>
            <a:ext cx="391155" cy="348536"/>
            <a:chOff x="685800" y="5367253"/>
            <a:chExt cx="762000" cy="728748"/>
          </a:xfrm>
        </p:grpSpPr>
        <p:sp>
          <p:nvSpPr>
            <p:cNvPr id="115" name="Oval 114"/>
            <p:cNvSpPr/>
            <p:nvPr>
              <p:custDataLst>
                <p:tags r:id="rId25"/>
              </p:custDataLst>
            </p:nvPr>
          </p:nvSpPr>
          <p:spPr>
            <a:xfrm>
              <a:off x="685800" y="5367253"/>
              <a:ext cx="762000" cy="728748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92D05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16" name="Picture 4"/>
            <p:cNvPicPr>
              <a:picLocks noChangeAspect="1" noChangeArrowheads="1"/>
            </p:cNvPicPr>
            <p:nvPr>
              <p:custDataLst>
                <p:tags r:id="rId26"/>
              </p:custDataLst>
            </p:nvPr>
          </p:nvPicPr>
          <p:blipFill rotWithShape="1">
            <a:blip r:embed="rId43" cstate="print">
              <a:extLst>
                <a:ext uri="{BEBA8EAE-BF5A-486C-A8C5-ECC9F3942E4B}">
                  <a14:imgProps xmlns:a14="http://schemas.microsoft.com/office/drawing/2010/main">
                    <a14:imgLayer r:embed="rId44">
                      <a14:imgEffect>
                        <a14:sharpenSoften amount="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402" r="10498" b="16782"/>
            <a:stretch/>
          </p:blipFill>
          <p:spPr bwMode="auto">
            <a:xfrm>
              <a:off x="858511" y="5486400"/>
              <a:ext cx="436889" cy="5222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17" name="Group 116"/>
          <p:cNvGrpSpPr/>
          <p:nvPr/>
        </p:nvGrpSpPr>
        <p:grpSpPr>
          <a:xfrm>
            <a:off x="6549665" y="5749031"/>
            <a:ext cx="2289536" cy="348536"/>
            <a:chOff x="6357622" y="5791200"/>
            <a:chExt cx="2289536" cy="348536"/>
          </a:xfrm>
        </p:grpSpPr>
        <p:grpSp>
          <p:nvGrpSpPr>
            <p:cNvPr id="118" name="Group 117"/>
            <p:cNvGrpSpPr/>
            <p:nvPr/>
          </p:nvGrpSpPr>
          <p:grpSpPr>
            <a:xfrm>
              <a:off x="6357622" y="5791200"/>
              <a:ext cx="391155" cy="348536"/>
              <a:chOff x="685800" y="5367253"/>
              <a:chExt cx="762000" cy="728748"/>
            </a:xfrm>
          </p:grpSpPr>
          <p:sp>
            <p:nvSpPr>
              <p:cNvPr id="120" name="Oval 119"/>
              <p:cNvSpPr/>
              <p:nvPr>
                <p:custDataLst>
                  <p:tags r:id="rId23"/>
                </p:custDataLst>
              </p:nvPr>
            </p:nvSpPr>
            <p:spPr>
              <a:xfrm>
                <a:off x="685800" y="5367253"/>
                <a:ext cx="762000" cy="728748"/>
              </a:xfrm>
              <a:prstGeom prst="ellipse">
                <a:avLst/>
              </a:prstGeom>
              <a:solidFill>
                <a:srgbClr val="FFFFFF"/>
              </a:solidFill>
              <a:ln w="19050" cap="flat" cmpd="sng" algn="ctr">
                <a:solidFill>
                  <a:srgbClr val="92D05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21" name="Picture 4"/>
              <p:cNvPicPr>
                <a:picLocks noChangeAspect="1" noChangeArrowheads="1"/>
              </p:cNvPicPr>
              <p:nvPr>
                <p:custDataLst>
                  <p:tags r:id="rId24"/>
                </p:custDataLst>
              </p:nvPr>
            </p:nvPicPr>
            <p:blipFill rotWithShape="1">
              <a:blip r:embed="rId43" cstate="print">
                <a:extLst>
                  <a:ext uri="{BEBA8EAE-BF5A-486C-A8C5-ECC9F3942E4B}">
                    <a14:imgProps xmlns:a14="http://schemas.microsoft.com/office/drawing/2010/main">
                      <a14:imgLayer r:embed="rId44">
                        <a14:imgEffect>
                          <a14:sharpenSoften amount="2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402" r="10498" b="16782"/>
              <a:stretch/>
            </p:blipFill>
            <p:spPr bwMode="auto">
              <a:xfrm>
                <a:off x="858511" y="5486400"/>
                <a:ext cx="436889" cy="5222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119" name="TextBox 118"/>
            <p:cNvSpPr txBox="1"/>
            <p:nvPr/>
          </p:nvSpPr>
          <p:spPr>
            <a:xfrm>
              <a:off x="6705601" y="5859251"/>
              <a:ext cx="1941557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The aspiration across  participants</a:t>
              </a:r>
            </a:p>
          </p:txBody>
        </p:sp>
      </p:grpSp>
      <p:grpSp>
        <p:nvGrpSpPr>
          <p:cNvPr id="122" name="Group 121"/>
          <p:cNvGrpSpPr/>
          <p:nvPr/>
        </p:nvGrpSpPr>
        <p:grpSpPr>
          <a:xfrm>
            <a:off x="5019045" y="3278167"/>
            <a:ext cx="391155" cy="348536"/>
            <a:chOff x="5019045" y="3578423"/>
            <a:chExt cx="391155" cy="348536"/>
          </a:xfrm>
        </p:grpSpPr>
        <p:sp>
          <p:nvSpPr>
            <p:cNvPr id="123" name="Oval 122"/>
            <p:cNvSpPr/>
            <p:nvPr>
              <p:custDataLst>
                <p:tags r:id="rId21"/>
              </p:custDataLst>
            </p:nvPr>
          </p:nvSpPr>
          <p:spPr>
            <a:xfrm>
              <a:off x="5019045" y="3578423"/>
              <a:ext cx="391155" cy="348536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solidFill>
                <a:srgbClr val="92D05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24" name="Picture 4"/>
            <p:cNvPicPr>
              <a:picLocks noChangeAspect="1" noChangeArrowheads="1"/>
            </p:cNvPicPr>
            <p:nvPr>
              <p:custDataLst>
                <p:tags r:id="rId22"/>
              </p:custDataLst>
            </p:nvPr>
          </p:nvPicPr>
          <p:blipFill rotWithShape="1">
            <a:blip r:embed="rId43" cstate="print">
              <a:extLst>
                <a:ext uri="{BEBA8EAE-BF5A-486C-A8C5-ECC9F3942E4B}">
                  <a14:imgProps xmlns:a14="http://schemas.microsoft.com/office/drawing/2010/main">
                    <a14:imgLayer r:embed="rId44">
                      <a14:imgEffect>
                        <a14:sharpenSoften amount="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402" r="10498" b="16782"/>
            <a:stretch/>
          </p:blipFill>
          <p:spPr bwMode="auto">
            <a:xfrm>
              <a:off x="5107702" y="3635407"/>
              <a:ext cx="224267" cy="2497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25" name="TextBox 124"/>
          <p:cNvSpPr txBox="1"/>
          <p:nvPr/>
        </p:nvSpPr>
        <p:spPr>
          <a:xfrm>
            <a:off x="457200" y="5792767"/>
            <a:ext cx="2895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</a:rPr>
              <a:t>Self-assessment by CFs</a:t>
            </a:r>
          </a:p>
        </p:txBody>
      </p:sp>
      <p:sp>
        <p:nvSpPr>
          <p:cNvPr id="126" name="Text Box 20"/>
          <p:cNvSpPr txBox="1">
            <a:spLocks noChangeArrowheads="1"/>
          </p:cNvSpPr>
          <p:nvPr/>
        </p:nvSpPr>
        <p:spPr bwMode="auto">
          <a:xfrm>
            <a:off x="539750" y="1419007"/>
            <a:ext cx="7994650" cy="40934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/>
          <a:p>
            <a:pPr algn="l">
              <a:lnSpc>
                <a:spcPct val="95000"/>
              </a:lnSpc>
              <a:spcBef>
                <a:spcPct val="25000"/>
              </a:spcBef>
              <a:defRPr/>
            </a:pPr>
            <a:r>
              <a:rPr lang="en-US" sz="2800" dirty="0">
                <a:solidFill>
                  <a:srgbClr val="0064AD"/>
                </a:solidFill>
                <a:effectLst/>
              </a:rPr>
              <a:t>c</a:t>
            </a:r>
            <a:r>
              <a:rPr lang="en-US" sz="2800" dirty="0" smtClean="0">
                <a:solidFill>
                  <a:srgbClr val="0064AD"/>
                </a:solidFill>
                <a:effectLst/>
              </a:rPr>
              <a:t>ommunity foundations share various aspirations</a:t>
            </a:r>
            <a:endParaRPr lang="en-US" sz="2800" dirty="0">
              <a:solidFill>
                <a:srgbClr val="0064AD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7919431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75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“FOR GOOD FOREVER” COMMUNITY FOUNDATION</a:t>
            </a:r>
            <a:endParaRPr lang="en-US" sz="24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89505" y="6370638"/>
            <a:ext cx="7800975" cy="487362"/>
          </a:xfrm>
        </p:spPr>
        <p:txBody>
          <a:bodyPr/>
          <a:lstStyle/>
          <a:p>
            <a:r>
              <a:rPr lang="en-US" dirty="0" smtClean="0"/>
              <a:t>“Do More than Grow”</a:t>
            </a:r>
            <a:endParaRPr lang="en-US" dirty="0"/>
          </a:p>
        </p:txBody>
      </p:sp>
      <p:sp>
        <p:nvSpPr>
          <p:cNvPr id="6" name="Text Box 13"/>
          <p:cNvSpPr txBox="1">
            <a:spLocks noChangeArrowheads="1"/>
          </p:cNvSpPr>
          <p:nvPr/>
        </p:nvSpPr>
        <p:spPr bwMode="auto">
          <a:xfrm>
            <a:off x="3214616" y="2816691"/>
            <a:ext cx="5395984" cy="34317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228600" indent="-165100" algn="l">
              <a:defRPr>
                <a:solidFill>
                  <a:schemeClr val="tx1"/>
                </a:solidFill>
                <a:latin typeface="Arial" charset="0"/>
              </a:defRPr>
            </a:lvl1pPr>
            <a:lvl2pPr algn="l">
              <a:defRPr>
                <a:solidFill>
                  <a:schemeClr val="tx1"/>
                </a:solidFill>
                <a:latin typeface="Arial" charset="0"/>
              </a:defRPr>
            </a:lvl2pPr>
            <a:lvl3pPr algn="l">
              <a:defRPr>
                <a:solidFill>
                  <a:schemeClr val="tx1"/>
                </a:solidFill>
                <a:latin typeface="Arial" charset="0"/>
              </a:defRPr>
            </a:lvl3pPr>
            <a:lvl4pPr algn="l">
              <a:defRPr>
                <a:solidFill>
                  <a:schemeClr val="tx1"/>
                </a:solidFill>
                <a:latin typeface="Arial" charset="0"/>
              </a:defRPr>
            </a:lvl4pPr>
            <a:lvl5pPr algn="l">
              <a:defRPr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63500" lvl="0" indent="0" algn="ctr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1800" b="1" kern="0" dirty="0" smtClean="0">
                <a:solidFill>
                  <a:srgbClr val="595959"/>
                </a:solidFill>
                <a:effectLst/>
              </a:rPr>
              <a:t>Our Message: </a:t>
            </a:r>
          </a:p>
          <a:p>
            <a:pPr marL="63500" lvl="0" indent="0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0" dirty="0" smtClean="0">
                <a:solidFill>
                  <a:srgbClr val="595959"/>
                </a:solidFill>
                <a:effectLst/>
              </a:rPr>
              <a:t>“This </a:t>
            </a:r>
            <a:r>
              <a:rPr lang="en-US" sz="1800" kern="0" dirty="0">
                <a:solidFill>
                  <a:srgbClr val="595959"/>
                </a:solidFill>
                <a:effectLst/>
              </a:rPr>
              <a:t>is not at all a transactional </a:t>
            </a:r>
            <a:r>
              <a:rPr lang="en-US" sz="1800" kern="0" dirty="0" smtClean="0">
                <a:solidFill>
                  <a:srgbClr val="595959"/>
                </a:solidFill>
                <a:effectLst/>
              </a:rPr>
              <a:t>relationship – we are your long-term partners in giving”</a:t>
            </a:r>
            <a:endParaRPr lang="en-US" sz="1800" kern="0" dirty="0">
              <a:solidFill>
                <a:srgbClr val="595959"/>
              </a:solidFill>
              <a:effectLst/>
            </a:endParaRPr>
          </a:p>
          <a:p>
            <a:pPr marL="63500" lvl="0" indent="0" algn="ctr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1800" b="1" kern="0" dirty="0" smtClean="0">
                <a:solidFill>
                  <a:srgbClr val="595959"/>
                </a:solidFill>
                <a:effectLst/>
              </a:rPr>
              <a:t>Our Approach: </a:t>
            </a:r>
          </a:p>
          <a:p>
            <a:pPr marL="63500" lvl="0" indent="0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1800" kern="0" dirty="0" smtClean="0">
                <a:solidFill>
                  <a:srgbClr val="595959"/>
                </a:solidFill>
                <a:effectLst/>
              </a:rPr>
              <a:t>Talk </a:t>
            </a:r>
            <a:r>
              <a:rPr lang="en-US" sz="1800" kern="0" dirty="0">
                <a:solidFill>
                  <a:srgbClr val="595959"/>
                </a:solidFill>
                <a:effectLst/>
              </a:rPr>
              <a:t>with donors when they come through the door about their long-term </a:t>
            </a:r>
            <a:r>
              <a:rPr lang="en-US" sz="1800" kern="0" dirty="0" smtClean="0">
                <a:solidFill>
                  <a:srgbClr val="595959"/>
                </a:solidFill>
                <a:effectLst/>
              </a:rPr>
              <a:t>legacy. Emphasize endowment building, with policies to encourage measured spending</a:t>
            </a:r>
          </a:p>
          <a:p>
            <a:pPr marL="63500" indent="0" algn="ctr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lang="en-US" sz="1800" b="1" kern="0" dirty="0">
                <a:solidFill>
                  <a:srgbClr val="595959"/>
                </a:solidFill>
                <a:effectLst/>
              </a:rPr>
              <a:t>Question We Face: </a:t>
            </a:r>
          </a:p>
          <a:p>
            <a:pPr marL="63500" lvl="0" indent="0" eaLnBrk="1" fontAlgn="auto" hangingPunct="1">
              <a:spcBef>
                <a:spcPts val="600"/>
              </a:spcBef>
              <a:spcAft>
                <a:spcPts val="0"/>
              </a:spcAft>
            </a:pPr>
            <a:r>
              <a:rPr kumimoji="0" lang="en-US" sz="1800" b="0" i="0" u="none" strike="noStrike" kern="0" cap="none" spc="0" normalizeH="0" noProof="0" dirty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 charset="0"/>
              </a:rPr>
              <a:t>How can we balance our emphasis on legacy with current giving and leadership?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7" name="Text Box 16"/>
          <p:cNvSpPr txBox="1">
            <a:spLocks noChangeArrowheads="1"/>
          </p:cNvSpPr>
          <p:nvPr/>
        </p:nvSpPr>
        <p:spPr bwMode="auto">
          <a:xfrm>
            <a:off x="438150" y="1412638"/>
            <a:ext cx="7943850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7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kern="0" dirty="0" smtClean="0">
                <a:solidFill>
                  <a:srgbClr val="336699"/>
                </a:solidFill>
                <a:effectLst/>
              </a:rPr>
              <a:t>cares </a:t>
            </a:r>
            <a:r>
              <a:rPr lang="en-US" sz="2800" kern="0" dirty="0">
                <a:solidFill>
                  <a:srgbClr val="336699"/>
                </a:solidFill>
                <a:effectLst/>
              </a:rPr>
              <a:t>about building long-term philanthropic resources to benefit the community</a:t>
            </a: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srgbClr val="336699"/>
              </a:solidFill>
              <a:effectLst/>
              <a:uLnTx/>
              <a:uFillTx/>
            </a:endParaRPr>
          </a:p>
        </p:txBody>
      </p:sp>
      <p:pic>
        <p:nvPicPr>
          <p:cNvPr id="8" name="Picture 7" descr="seed1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63664" y="142571"/>
            <a:ext cx="4006472" cy="7096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9502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“FOR GOOD FOREVER” COMMUNITY FOUNDATION</a:t>
            </a:r>
            <a:endParaRPr lang="en-US" sz="2400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89505" y="6370638"/>
            <a:ext cx="7800975" cy="487362"/>
          </a:xfrm>
        </p:spPr>
        <p:txBody>
          <a:bodyPr/>
          <a:lstStyle/>
          <a:p>
            <a:r>
              <a:rPr lang="en-US" dirty="0" smtClean="0"/>
              <a:t>“Do More than Grow”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0" y="3283803"/>
            <a:ext cx="6019800" cy="907197"/>
            <a:chOff x="426425" y="1066800"/>
            <a:chExt cx="7283959" cy="907197"/>
          </a:xfrm>
        </p:grpSpPr>
        <p:grpSp>
          <p:nvGrpSpPr>
            <p:cNvPr id="12" name="Group 11"/>
            <p:cNvGrpSpPr/>
            <p:nvPr>
              <p:custDataLst>
                <p:tags r:id="rId19"/>
              </p:custDataLst>
            </p:nvPr>
          </p:nvGrpSpPr>
          <p:grpSpPr>
            <a:xfrm>
              <a:off x="426425" y="1132582"/>
              <a:ext cx="7283959" cy="841415"/>
              <a:chOff x="-819650" y="3573959"/>
              <a:chExt cx="9694949" cy="841415"/>
            </a:xfrm>
          </p:grpSpPr>
          <p:grpSp>
            <p:nvGrpSpPr>
              <p:cNvPr id="14" name="Group 13"/>
              <p:cNvGrpSpPr/>
              <p:nvPr/>
            </p:nvGrpSpPr>
            <p:grpSpPr>
              <a:xfrm>
                <a:off x="407559" y="3573959"/>
                <a:ext cx="8467740" cy="841415"/>
                <a:chOff x="940959" y="2177534"/>
                <a:chExt cx="8467740" cy="841415"/>
              </a:xfrm>
            </p:grpSpPr>
            <p:grpSp>
              <p:nvGrpSpPr>
                <p:cNvPr id="16" name="Group 15"/>
                <p:cNvGrpSpPr/>
                <p:nvPr>
                  <p:custDataLst>
                    <p:tags r:id="rId22"/>
                  </p:custDataLst>
                </p:nvPr>
              </p:nvGrpSpPr>
              <p:grpSpPr>
                <a:xfrm>
                  <a:off x="3124200" y="2286000"/>
                  <a:ext cx="4191000" cy="152400"/>
                  <a:chOff x="1981200" y="2362200"/>
                  <a:chExt cx="3962400" cy="152400"/>
                </a:xfrm>
              </p:grpSpPr>
              <p:cxnSp>
                <p:nvCxnSpPr>
                  <p:cNvPr id="19" name="Straight Connector 18"/>
                  <p:cNvCxnSpPr/>
                  <p:nvPr/>
                </p:nvCxnSpPr>
                <p:spPr>
                  <a:xfrm>
                    <a:off x="19812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" name="Straight Connector 19"/>
                  <p:cNvCxnSpPr/>
                  <p:nvPr/>
                </p:nvCxnSpPr>
                <p:spPr>
                  <a:xfrm>
                    <a:off x="59436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" name="Straight Connector 20"/>
                  <p:cNvCxnSpPr/>
                  <p:nvPr/>
                </p:nvCxnSpPr>
                <p:spPr>
                  <a:xfrm>
                    <a:off x="1981200" y="2438400"/>
                    <a:ext cx="3962400" cy="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</p:grpSp>
            <p:sp>
              <p:nvSpPr>
                <p:cNvPr id="17" name="TextBox 16"/>
                <p:cNvSpPr txBox="1"/>
                <p:nvPr>
                  <p:custDataLst>
                    <p:tags r:id="rId23"/>
                  </p:custDataLst>
                </p:nvPr>
              </p:nvSpPr>
              <p:spPr>
                <a:xfrm>
                  <a:off x="940959" y="2177534"/>
                  <a:ext cx="2200561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Arial"/>
                    </a:rPr>
                    <a:t>Support DAF grantmaking that meets donors’ priorities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18" name="TextBox 17"/>
                <p:cNvSpPr txBox="1"/>
                <p:nvPr>
                  <p:custDataLst>
                    <p:tags r:id="rId24"/>
                  </p:custDataLst>
                </p:nvPr>
              </p:nvSpPr>
              <p:spPr>
                <a:xfrm>
                  <a:off x="7275100" y="2187952"/>
                  <a:ext cx="2133599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Arial"/>
                    </a:rPr>
                    <a:t>Align DAF grantmaking with priorities identified by the CF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  <p:sp>
            <p:nvSpPr>
              <p:cNvPr id="15" name="TextBox 14"/>
              <p:cNvSpPr txBox="1"/>
              <p:nvPr>
                <p:custDataLst>
                  <p:tags r:id="rId21"/>
                </p:custDataLst>
              </p:nvPr>
            </p:nvSpPr>
            <p:spPr>
              <a:xfrm>
                <a:off x="-819650" y="3594557"/>
                <a:ext cx="121920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 4</a:t>
                </a:r>
                <a: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   </a:t>
                </a:r>
              </a:p>
            </p:txBody>
          </p:sp>
        </p:grpSp>
        <p:sp>
          <p:nvSpPr>
            <p:cNvPr id="13" name="Oval 12"/>
            <p:cNvSpPr/>
            <p:nvPr>
              <p:custDataLst>
                <p:tags r:id="rId20"/>
              </p:custDataLst>
            </p:nvPr>
          </p:nvSpPr>
          <p:spPr>
            <a:xfrm>
              <a:off x="4195239" y="1066800"/>
              <a:ext cx="692356" cy="533400"/>
            </a:xfrm>
            <a:prstGeom prst="ellipse">
              <a:avLst/>
            </a:prstGeom>
            <a:solidFill>
              <a:srgbClr val="FFFFFF"/>
            </a:solidFill>
            <a:ln w="57150" cap="flat" cmpd="sng" algn="ctr">
              <a:solidFill>
                <a:srgbClr val="0064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9478" y="2445603"/>
            <a:ext cx="6019800" cy="907197"/>
            <a:chOff x="426425" y="1066800"/>
            <a:chExt cx="7283959" cy="907197"/>
          </a:xfrm>
        </p:grpSpPr>
        <p:grpSp>
          <p:nvGrpSpPr>
            <p:cNvPr id="23" name="Group 22"/>
            <p:cNvGrpSpPr/>
            <p:nvPr>
              <p:custDataLst>
                <p:tags r:id="rId13"/>
              </p:custDataLst>
            </p:nvPr>
          </p:nvGrpSpPr>
          <p:grpSpPr>
            <a:xfrm>
              <a:off x="426425" y="1132582"/>
              <a:ext cx="7283959" cy="841415"/>
              <a:chOff x="-819650" y="3573959"/>
              <a:chExt cx="9694949" cy="841415"/>
            </a:xfrm>
          </p:grpSpPr>
          <p:grpSp>
            <p:nvGrpSpPr>
              <p:cNvPr id="25" name="Group 24"/>
              <p:cNvGrpSpPr/>
              <p:nvPr/>
            </p:nvGrpSpPr>
            <p:grpSpPr>
              <a:xfrm>
                <a:off x="407559" y="3573959"/>
                <a:ext cx="8467740" cy="841415"/>
                <a:chOff x="940959" y="2177534"/>
                <a:chExt cx="8467740" cy="841415"/>
              </a:xfrm>
            </p:grpSpPr>
            <p:grpSp>
              <p:nvGrpSpPr>
                <p:cNvPr id="27" name="Group 26"/>
                <p:cNvGrpSpPr/>
                <p:nvPr>
                  <p:custDataLst>
                    <p:tags r:id="rId16"/>
                  </p:custDataLst>
                </p:nvPr>
              </p:nvGrpSpPr>
              <p:grpSpPr>
                <a:xfrm>
                  <a:off x="3124200" y="2286000"/>
                  <a:ext cx="4191000" cy="152400"/>
                  <a:chOff x="1981200" y="2362200"/>
                  <a:chExt cx="3962400" cy="152400"/>
                </a:xfrm>
              </p:grpSpPr>
              <p:cxnSp>
                <p:nvCxnSpPr>
                  <p:cNvPr id="30" name="Straight Connector 29"/>
                  <p:cNvCxnSpPr/>
                  <p:nvPr/>
                </p:nvCxnSpPr>
                <p:spPr>
                  <a:xfrm>
                    <a:off x="19812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31" name="Straight Connector 30"/>
                  <p:cNvCxnSpPr/>
                  <p:nvPr/>
                </p:nvCxnSpPr>
                <p:spPr>
                  <a:xfrm>
                    <a:off x="59436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32" name="Straight Connector 31"/>
                  <p:cNvCxnSpPr/>
                  <p:nvPr/>
                </p:nvCxnSpPr>
                <p:spPr>
                  <a:xfrm>
                    <a:off x="1981200" y="2438400"/>
                    <a:ext cx="3962400" cy="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</p:grpSp>
            <p:sp>
              <p:nvSpPr>
                <p:cNvPr id="28" name="TextBox 27"/>
                <p:cNvSpPr txBox="1"/>
                <p:nvPr>
                  <p:custDataLst>
                    <p:tags r:id="rId17"/>
                  </p:custDataLst>
                </p:nvPr>
              </p:nvSpPr>
              <p:spPr>
                <a:xfrm>
                  <a:off x="940959" y="2177534"/>
                  <a:ext cx="2200561" cy="6463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Arial"/>
                    </a:rPr>
                    <a:t>Position DAFs as a stand-alone offering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29" name="TextBox 28"/>
                <p:cNvSpPr txBox="1"/>
                <p:nvPr>
                  <p:custDataLst>
                    <p:tags r:id="rId18"/>
                  </p:custDataLst>
                </p:nvPr>
              </p:nvSpPr>
              <p:spPr>
                <a:xfrm>
                  <a:off x="7275100" y="2187952"/>
                  <a:ext cx="2133599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Arial"/>
                    </a:rPr>
                    <a:t>Position DAFs as an entry point to grow more flexible assets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  <p:sp>
            <p:nvSpPr>
              <p:cNvPr id="26" name="TextBox 25"/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-819650" y="3594557"/>
                <a:ext cx="121920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 </a:t>
                </a:r>
                <a: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1   </a:t>
                </a:r>
              </a:p>
            </p:txBody>
          </p:sp>
        </p:grpSp>
        <p:sp>
          <p:nvSpPr>
            <p:cNvPr id="24" name="Oval 23"/>
            <p:cNvSpPr/>
            <p:nvPr>
              <p:custDataLst>
                <p:tags r:id="rId14"/>
              </p:custDataLst>
            </p:nvPr>
          </p:nvSpPr>
          <p:spPr>
            <a:xfrm>
              <a:off x="5439125" y="1066800"/>
              <a:ext cx="692356" cy="533400"/>
            </a:xfrm>
            <a:prstGeom prst="ellipse">
              <a:avLst/>
            </a:prstGeom>
            <a:solidFill>
              <a:srgbClr val="FFFFFF"/>
            </a:solidFill>
            <a:ln w="57150" cap="flat" cmpd="sng" algn="ctr">
              <a:solidFill>
                <a:srgbClr val="0064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3" name="Group 32"/>
          <p:cNvGrpSpPr/>
          <p:nvPr>
            <p:custDataLst>
              <p:tags r:id="rId1"/>
            </p:custDataLst>
          </p:nvPr>
        </p:nvGrpSpPr>
        <p:grpSpPr>
          <a:xfrm>
            <a:off x="0" y="5069919"/>
            <a:ext cx="6029280" cy="1026081"/>
            <a:chOff x="-819650" y="3573959"/>
            <a:chExt cx="9710215" cy="1026081"/>
          </a:xfrm>
        </p:grpSpPr>
        <p:grpSp>
          <p:nvGrpSpPr>
            <p:cNvPr id="34" name="Group 33"/>
            <p:cNvGrpSpPr/>
            <p:nvPr/>
          </p:nvGrpSpPr>
          <p:grpSpPr>
            <a:xfrm>
              <a:off x="407559" y="3573959"/>
              <a:ext cx="8483006" cy="1026081"/>
              <a:chOff x="940959" y="2177534"/>
              <a:chExt cx="8483006" cy="1026081"/>
            </a:xfrm>
          </p:grpSpPr>
          <p:grpSp>
            <p:nvGrpSpPr>
              <p:cNvPr id="36" name="Group 35"/>
              <p:cNvGrpSpPr/>
              <p:nvPr>
                <p:custDataLst>
                  <p:tags r:id="rId10"/>
                </p:custDataLst>
              </p:nvPr>
            </p:nvGrpSpPr>
            <p:grpSpPr>
              <a:xfrm>
                <a:off x="3124200" y="2286000"/>
                <a:ext cx="4191000" cy="152400"/>
                <a:chOff x="1981200" y="2362200"/>
                <a:chExt cx="3962400" cy="152400"/>
              </a:xfrm>
            </p:grpSpPr>
            <p:cxnSp>
              <p:nvCxnSpPr>
                <p:cNvPr id="39" name="Straight Connector 38"/>
                <p:cNvCxnSpPr/>
                <p:nvPr/>
              </p:nvCxnSpPr>
              <p:spPr>
                <a:xfrm>
                  <a:off x="1981200" y="2362200"/>
                  <a:ext cx="0" cy="15240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rgbClr val="FA9600">
                      <a:shade val="95000"/>
                      <a:satMod val="10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40" name="Straight Connector 39"/>
                <p:cNvCxnSpPr/>
                <p:nvPr/>
              </p:nvCxnSpPr>
              <p:spPr>
                <a:xfrm>
                  <a:off x="5943600" y="2362200"/>
                  <a:ext cx="0" cy="15240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rgbClr val="FA9600">
                      <a:shade val="95000"/>
                      <a:satMod val="105000"/>
                    </a:srgbClr>
                  </a:solidFill>
                  <a:prstDash val="solid"/>
                </a:ln>
                <a:effectLst/>
              </p:spPr>
            </p:cxnSp>
            <p:cxnSp>
              <p:nvCxnSpPr>
                <p:cNvPr id="41" name="Straight Connector 40"/>
                <p:cNvCxnSpPr/>
                <p:nvPr/>
              </p:nvCxnSpPr>
              <p:spPr>
                <a:xfrm>
                  <a:off x="1981200" y="2438400"/>
                  <a:ext cx="3962400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rgbClr val="FA9600">
                      <a:shade val="95000"/>
                      <a:satMod val="105000"/>
                    </a:srgbClr>
                  </a:solidFill>
                  <a:prstDash val="solid"/>
                </a:ln>
                <a:effectLst/>
              </p:spPr>
            </p:cxnSp>
          </p:grpSp>
          <p:sp>
            <p:nvSpPr>
              <p:cNvPr id="37" name="TextBox 36"/>
              <p:cNvSpPr txBox="1"/>
              <p:nvPr>
                <p:custDataLst>
                  <p:tags r:id="rId11"/>
                </p:custDataLst>
              </p:nvPr>
            </p:nvSpPr>
            <p:spPr>
              <a:xfrm>
                <a:off x="940959" y="2177534"/>
                <a:ext cx="2200561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rPr>
                  <a:t>DAFs are a “loss-leader” to bring in other fund types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38" name="TextBox 37"/>
              <p:cNvSpPr txBox="1"/>
              <p:nvPr>
                <p:custDataLst>
                  <p:tags r:id="rId12"/>
                </p:custDataLst>
              </p:nvPr>
            </p:nvSpPr>
            <p:spPr>
              <a:xfrm>
                <a:off x="7077005" y="2187952"/>
                <a:ext cx="2346960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rPr>
                  <a:t>DAFs should generate a </a:t>
                </a:r>
              </a:p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rPr>
                  <a:t>surplus to support other areas of our operations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35" name="TextBox 34"/>
            <p:cNvSpPr txBox="1"/>
            <p:nvPr>
              <p:custDataLst>
                <p:tags r:id="rId9"/>
              </p:custDataLst>
            </p:nvPr>
          </p:nvSpPr>
          <p:spPr>
            <a:xfrm>
              <a:off x="-819650" y="3594557"/>
              <a:ext cx="12192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cs typeface="Calibri" pitchFamily="34" charset="0"/>
                </a:rPr>
                <a:t> </a:t>
              </a:r>
              <a:r>
                <a:rPr kumimoji="0" lang="en-US" sz="2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cs typeface="Calibri" pitchFamily="34" charset="0"/>
                </a:rPr>
                <a:t>6   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9478" y="4198203"/>
            <a:ext cx="6019800" cy="907197"/>
            <a:chOff x="426425" y="1066800"/>
            <a:chExt cx="7283959" cy="907197"/>
          </a:xfrm>
        </p:grpSpPr>
        <p:grpSp>
          <p:nvGrpSpPr>
            <p:cNvPr id="43" name="Group 42"/>
            <p:cNvGrpSpPr/>
            <p:nvPr>
              <p:custDataLst>
                <p:tags r:id="rId3"/>
              </p:custDataLst>
            </p:nvPr>
          </p:nvGrpSpPr>
          <p:grpSpPr>
            <a:xfrm>
              <a:off x="426425" y="1132582"/>
              <a:ext cx="7283959" cy="841415"/>
              <a:chOff x="-819650" y="3573959"/>
              <a:chExt cx="9694949" cy="841415"/>
            </a:xfrm>
          </p:grpSpPr>
          <p:grpSp>
            <p:nvGrpSpPr>
              <p:cNvPr id="45" name="Group 44"/>
              <p:cNvGrpSpPr/>
              <p:nvPr/>
            </p:nvGrpSpPr>
            <p:grpSpPr>
              <a:xfrm>
                <a:off x="407559" y="3573959"/>
                <a:ext cx="8467740" cy="841415"/>
                <a:chOff x="940959" y="2177534"/>
                <a:chExt cx="8467740" cy="841415"/>
              </a:xfrm>
            </p:grpSpPr>
            <p:grpSp>
              <p:nvGrpSpPr>
                <p:cNvPr id="47" name="Group 46"/>
                <p:cNvGrpSpPr/>
                <p:nvPr>
                  <p:custDataLst>
                    <p:tags r:id="rId6"/>
                  </p:custDataLst>
                </p:nvPr>
              </p:nvGrpSpPr>
              <p:grpSpPr>
                <a:xfrm>
                  <a:off x="3124200" y="2286000"/>
                  <a:ext cx="4191000" cy="152400"/>
                  <a:chOff x="1981200" y="2362200"/>
                  <a:chExt cx="3962400" cy="152400"/>
                </a:xfrm>
              </p:grpSpPr>
              <p:cxnSp>
                <p:nvCxnSpPr>
                  <p:cNvPr id="50" name="Straight Connector 49"/>
                  <p:cNvCxnSpPr/>
                  <p:nvPr/>
                </p:nvCxnSpPr>
                <p:spPr>
                  <a:xfrm>
                    <a:off x="19812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51" name="Straight Connector 50"/>
                  <p:cNvCxnSpPr/>
                  <p:nvPr/>
                </p:nvCxnSpPr>
                <p:spPr>
                  <a:xfrm>
                    <a:off x="5943600" y="2362200"/>
                    <a:ext cx="0" cy="15240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  <p:cxnSp>
                <p:nvCxnSpPr>
                  <p:cNvPr id="52" name="Straight Connector 51"/>
                  <p:cNvCxnSpPr/>
                  <p:nvPr/>
                </p:nvCxnSpPr>
                <p:spPr>
                  <a:xfrm>
                    <a:off x="1981200" y="2438400"/>
                    <a:ext cx="3962400" cy="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A9600">
                        <a:shade val="95000"/>
                        <a:satMod val="105000"/>
                      </a:srgbClr>
                    </a:solidFill>
                    <a:prstDash val="solid"/>
                  </a:ln>
                  <a:effectLst/>
                </p:spPr>
              </p:cxnSp>
            </p:grpSp>
            <p:sp>
              <p:nvSpPr>
                <p:cNvPr id="48" name="TextBox 47"/>
                <p:cNvSpPr txBox="1"/>
                <p:nvPr>
                  <p:custDataLst>
                    <p:tags r:id="rId7"/>
                  </p:custDataLst>
                </p:nvPr>
              </p:nvSpPr>
              <p:spPr>
                <a:xfrm>
                  <a:off x="940959" y="2177534"/>
                  <a:ext cx="2200561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Arial"/>
                    </a:rPr>
                    <a:t>Promote grantmaking to organizations anywhere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49" name="TextBox 48"/>
                <p:cNvSpPr txBox="1"/>
                <p:nvPr>
                  <p:custDataLst>
                    <p:tags r:id="rId8"/>
                  </p:custDataLst>
                </p:nvPr>
              </p:nvSpPr>
              <p:spPr>
                <a:xfrm>
                  <a:off x="7275100" y="2187952"/>
                  <a:ext cx="2133599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  <a:latin typeface="Arial"/>
                    </a:rPr>
                    <a:t>Promote grantmaking to local organizations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  <p:sp>
            <p:nvSpPr>
              <p:cNvPr id="46" name="TextBox 45"/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-819650" y="3594557"/>
                <a:ext cx="121920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 </a:t>
                </a:r>
                <a:r>
                  <a:rPr kumimoji="0" lang="en-US" sz="2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cs typeface="Calibri" pitchFamily="34" charset="0"/>
                  </a:rPr>
                  <a:t>5   </a:t>
                </a:r>
              </a:p>
            </p:txBody>
          </p:sp>
        </p:grpSp>
        <p:sp>
          <p:nvSpPr>
            <p:cNvPr id="44" name="Oval 43"/>
            <p:cNvSpPr/>
            <p:nvPr>
              <p:custDataLst>
                <p:tags r:id="rId4"/>
              </p:custDataLst>
            </p:nvPr>
          </p:nvSpPr>
          <p:spPr>
            <a:xfrm>
              <a:off x="4195239" y="1066800"/>
              <a:ext cx="692356" cy="533400"/>
            </a:xfrm>
            <a:prstGeom prst="ellipse">
              <a:avLst/>
            </a:prstGeom>
            <a:solidFill>
              <a:srgbClr val="FFFFFF"/>
            </a:solidFill>
            <a:ln w="57150" cap="flat" cmpd="sng" algn="ctr">
              <a:solidFill>
                <a:srgbClr val="0064AD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096000" y="2481590"/>
            <a:ext cx="2362200" cy="708630"/>
            <a:chOff x="5791200" y="2100590"/>
            <a:chExt cx="2362200" cy="708630"/>
          </a:xfrm>
        </p:grpSpPr>
        <p:sp>
          <p:nvSpPr>
            <p:cNvPr id="54" name="Rectangle 53"/>
            <p:cNvSpPr/>
            <p:nvPr/>
          </p:nvSpPr>
          <p:spPr>
            <a:xfrm>
              <a:off x="5867400" y="2391251"/>
              <a:ext cx="946285" cy="385465"/>
            </a:xfrm>
            <a:prstGeom prst="rect">
              <a:avLst/>
            </a:prstGeom>
            <a:solidFill>
              <a:srgbClr val="FA96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5791200" y="2100590"/>
              <a:ext cx="20193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Pledge planned gifts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6781800" y="2286000"/>
              <a:ext cx="13716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34% vs</a:t>
              </a:r>
              <a:b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</a:b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13% average</a:t>
              </a: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6096000" y="3429000"/>
            <a:ext cx="2019300" cy="751820"/>
            <a:chOff x="5791200" y="2090916"/>
            <a:chExt cx="2019300" cy="751820"/>
          </a:xfrm>
        </p:grpSpPr>
        <p:sp>
          <p:nvSpPr>
            <p:cNvPr id="58" name="Rectangle 57"/>
            <p:cNvSpPr/>
            <p:nvPr/>
          </p:nvSpPr>
          <p:spPr>
            <a:xfrm>
              <a:off x="5867399" y="2391251"/>
              <a:ext cx="609601" cy="385465"/>
            </a:xfrm>
            <a:prstGeom prst="rect">
              <a:avLst/>
            </a:prstGeom>
            <a:solidFill>
              <a:srgbClr val="FA96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5791200" y="2090916"/>
              <a:ext cx="20193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Contribute to flexible funds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6477000" y="2319516"/>
              <a:ext cx="13335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23% vs 21% average</a:t>
              </a: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6096000" y="4276874"/>
            <a:ext cx="3124200" cy="742146"/>
            <a:chOff x="5791200" y="2100590"/>
            <a:chExt cx="3124200" cy="742146"/>
          </a:xfrm>
        </p:grpSpPr>
        <p:sp>
          <p:nvSpPr>
            <p:cNvPr id="62" name="Rectangle 61"/>
            <p:cNvSpPr/>
            <p:nvPr/>
          </p:nvSpPr>
          <p:spPr>
            <a:xfrm>
              <a:off x="5867397" y="2391251"/>
              <a:ext cx="1676403" cy="385465"/>
            </a:xfrm>
            <a:prstGeom prst="rect">
              <a:avLst/>
            </a:prstGeom>
            <a:solidFill>
              <a:srgbClr val="FA96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5791200" y="2100590"/>
              <a:ext cx="20193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Local grant dollars</a:t>
              </a: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7543800" y="2319516"/>
              <a:ext cx="13716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60% vs </a:t>
              </a:r>
              <a:b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</a:b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63% average</a:t>
              </a:r>
            </a:p>
          </p:txBody>
        </p:sp>
      </p:grpSp>
      <p:sp>
        <p:nvSpPr>
          <p:cNvPr id="65" name="TextBox 64"/>
          <p:cNvSpPr txBox="1"/>
          <p:nvPr/>
        </p:nvSpPr>
        <p:spPr>
          <a:xfrm>
            <a:off x="2416904" y="1915180"/>
            <a:ext cx="5203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</a:rPr>
              <a:t>For Good Forever – High Levels of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</a:rPr>
              <a:t>P</a:t>
            </a: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</a:rPr>
              <a:t>lanned Giving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6096000" y="5181600"/>
            <a:ext cx="28697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A9600"/>
                </a:solidFill>
                <a:effectLst/>
                <a:uLnTx/>
                <a:uFillTx/>
                <a:latin typeface="Arial"/>
              </a:rPr>
              <a:t>Effective Fee: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</a:rPr>
              <a:t>Relatively low – subsidizing</a:t>
            </a:r>
            <a:r>
              <a:rPr kumimoji="0" lang="en-US" sz="1400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</a:rPr>
              <a:t> DAFs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4200408" y="2589825"/>
            <a:ext cx="4667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64AD"/>
                </a:solidFill>
                <a:effectLst/>
                <a:uLnTx/>
                <a:uFillTx/>
                <a:latin typeface="Arial"/>
              </a:rPr>
              <a:t>2012</a:t>
            </a:r>
          </a:p>
        </p:txBody>
      </p:sp>
      <p:sp>
        <p:nvSpPr>
          <p:cNvPr id="68" name="Oval 67"/>
          <p:cNvSpPr/>
          <p:nvPr>
            <p:custDataLst>
              <p:tags r:id="rId2"/>
            </p:custDataLst>
          </p:nvPr>
        </p:nvSpPr>
        <p:spPr>
          <a:xfrm>
            <a:off x="3124200" y="5029200"/>
            <a:ext cx="572195" cy="533400"/>
          </a:xfrm>
          <a:prstGeom prst="ellipse">
            <a:avLst/>
          </a:prstGeom>
          <a:solidFill>
            <a:srgbClr val="FFFFFF"/>
          </a:solidFill>
          <a:ln w="57150" cap="flat" cmpd="sng" algn="ctr">
            <a:solidFill>
              <a:srgbClr val="0064A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3200400" y="5163979"/>
            <a:ext cx="42435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64AD"/>
                </a:solidFill>
                <a:effectLst/>
                <a:uLnTx/>
                <a:uFillTx/>
                <a:latin typeface="Arial"/>
              </a:rPr>
              <a:t>2012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3200400" y="4342512"/>
            <a:ext cx="42435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64AD"/>
                </a:solidFill>
                <a:effectLst/>
                <a:uLnTx/>
                <a:uFillTx/>
                <a:latin typeface="Arial"/>
              </a:rPr>
              <a:t>2012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3181328" y="3429000"/>
            <a:ext cx="4667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0064AD"/>
                </a:solidFill>
                <a:effectLst/>
                <a:uLnTx/>
                <a:uFillTx/>
                <a:latin typeface="Arial"/>
              </a:rPr>
              <a:t>2012</a:t>
            </a:r>
          </a:p>
        </p:txBody>
      </p:sp>
    </p:spTree>
    <p:extLst>
      <p:ext uri="{BB962C8B-B14F-4D97-AF65-F5344CB8AC3E}">
        <p14:creationId xmlns:p14="http://schemas.microsoft.com/office/powerpoint/2010/main" val="3555618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3&quot;&gt;&lt;elem m_fUsage=&quot;1.00000000000000000000E+000&quot;&gt;&lt;m_msothmcolidx val=&quot;0&quot;/&gt;&lt;m_rgb r=&quot;6a&quot; g=&quot;7f&quot; b=&quot;10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9a&quot; g=&quot;9b&quot; b=&quot;9c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f2&quot; g=&quot;64&quot; b=&quot;22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6WFUlIzH0iyOmKbMO7xy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iJ06f1qEOGQ9YDyfkk0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qezprvEO7dExXyzB25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iwlRJyN0mtPVZDsXtbS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Hska6j1kGvgZ1TbdbCA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7qqnoLqk2uC_S0VwZW_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XikBDVYEqmscrxk6n7v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iwlRJyN0mtPVZDsXtbS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Hska6j1kGvgZ1TbdbCA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7qqnoLqk2uC_S0VwZW_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XikBDVYEqmscrxk6n7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azBvrYfkqIMn0kCa.wr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iJ06f1qEOGQ9YDyfkk0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qezprvEO7dExXyzB25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iwlRJyN0mtPVZDsXtbS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Hska6j1kGvgZ1TbdbCA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7qqnoLqk2uC_S0VwZW_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XikBDVYEqmscrxk6n7v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iJ06f1qEOGQ9YDyfkk0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qezprvEO7dExXyzB25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iwlRJyN0mtPVZDsXtbS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Hska6j1kGvgZ1TbdbC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Hska6j1kGvgZ1TbdbCA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7qqnoLqk2uC_S0VwZW_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XikBDVYEqmscrxk6n7v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iJ06f1qEOGQ9YDyfkk0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qezprvEO7dExXyzB25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iJ06f1qEOGQ9YDyfkk0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qezprvEO7dExXyzB25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iwlRJyN0mtPVZDsXtbS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Hska6j1kGvgZ1TbdbCA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7qqnoLqk2uC_S0VwZW_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XikBDVYEqmscrxk6n7v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7qqnoLqk2uC_S0VwZW_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iwlRJyN0mtPVZDsXtbS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Hska6j1kGvgZ1TbdbCA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7qqnoLqk2uC_S0VwZW_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XikBDVYEqmscrxk6n7v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iJ06f1qEOGQ9YDyfkk0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qezprvEO7dExXyzB25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iwlRJyN0mtPVZDsXtbS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Hska6j1kGvgZ1TbdbCA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7qqnoLqk2uC_S0VwZW_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XikBDVYEqmscrxk6n7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XikBDVYEqmscrxk6n7v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iJ06f1qEOGQ9YDyfkk0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qezprvEO7dExXyzB25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iwlRJyN0mtPVZDsXtbS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Hska6j1kGvgZ1TbdbCA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7qqnoLqk2uC_S0VwZW_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XikBDVYEqmscrxk6n7v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K_8m6R7k6FT0BK2YtpC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LQ4NFL5EmFjSwyrlRbh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Yq3jpSb0iRfk46xl1G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Hska6j1kGvgZ1TbdbCA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wfZTaQjkijItB31xhP9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jGLMa6vkSpuGc3.ZnZ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7qqnoLqk2uC_S0VwZW_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XikBDVYEqmscrxk6n7v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Hska6j1kGvgZ1TbdbCA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7qqnoLqk2uC_S0VwZW_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XikBDVYEqmscrxk6n7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Hska6j1kGvgZ1TbdbCA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7qqnoLqk2uC_S0VwZW_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XikBDVYEqmscrxk6n7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iwlRJyN0mtPVZDsXtbS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iwlRJyN0mtPVZDsXtbS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iwlRJyN0mtPVZDsXtbS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iwlRJyN0mtPVZDsXtbS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iwlRJyN0mtPVZDsXtbS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V9FKBC0CVAEJLXAT7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FqjxcCpkmO88gLMkCGF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V9FKBC0CVAEJLXAT7a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FqjxcCpkmO88gLMkCGF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V9FKBC0CVAEJLXAT7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FqjxcCpkmO88gLMkCGF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Hska6j1kGvgZ1TbdbCA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iwlRJyN0mtPVZDsXtbS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7qqnoLqk2uC_S0VwZW_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XikBDVYEqmscrxk6n7v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V9FKBC0CVAEJLXAT7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FqjxcCpkmO88gLMkCGF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Hska6j1kGvgZ1TbdbCA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7qqnoLqk2uC_S0VwZW_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XikBDVYEqmscrxk6n7v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V9FKBC0CVAEJLXAT7a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FqjxcCpkmO88gLMkCGF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V9FKBC0CVAEJLXAT7a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FqjxcCpkmO88gLMkCGF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V9FKBC0CVAEJLXAT7a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FqjxcCpkmO88gLMkCG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iJ06f1qEOGQ9YDyfkk0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qezprvEO7dExXyzB25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iJ06f1qEOGQ9YDyfkk0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qezprvEO7dExXyzB25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iwlRJyN0mtPVZDsXtbS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Hska6j1kGvgZ1TbdbCA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7qqnoLqk2uC_S0VwZW_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XikBDVYEqmscrxk6n7v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iwlRJyN0mtPVZDsXtbS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Hska6j1kGvgZ1TbdbC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7qqnoLqk2uC_S0VwZW_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XikBDVYEqmscrxk6n7v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iJ06f1qEOGQ9YDyfkk0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qezprvEO7dExXyzB25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iwlRJyN0mtPVZDsXtbS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Hska6j1kGvgZ1TbdbCA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7qqnoLqk2uC_S0VwZW_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XikBDVYEqmscrxk6n7v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iJ06f1qEOGQ9YDyfkk0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qezprvEO7dExXyzB25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9iumypMECZGs1ze2fWu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iwlRJyN0mtPVZDsXtbS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Hska6j1kGvgZ1TbdbCA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7qqnoLqk2uC_S0VwZW_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XikBDVYEqmscrxk6n7v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iJ06f1qEOGQ9YDyfkk0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qezprvEO7dExXyzB25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iJ06f1qEOGQ9YDyfkk0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qezprvEO7dExXyzB25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iwlRJyN0mtPVZDsXtbS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Hska6j1kGvgZ1TbdbC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pMIOqz9E.EmAertoR5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7qqnoLqk2uC_S0VwZW_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XikBDVYEqmscrxk6n7v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iwlRJyN0mtPVZDsXtbS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Hska6j1kGvgZ1TbdbCA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7qqnoLqk2uC_S0VwZW_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XikBDVYEqmscrxk6n7v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iJ06f1qEOGQ9YDyfkk0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qezprvEO7dExXyzB25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iwlRJyN0mtPVZDsXtbS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Hska6j1kGvgZ1TbdbCA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XULmwhxEilCOiLQ4Iun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7qqnoLqk2uC_S0VwZW_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XikBDVYEqmscrxk6n7v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iJ06f1qEOGQ9YDyfkk0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qezprvEO7dExXyzB25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iwlRJyN0mtPVZDsXtbS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Hska6j1kGvgZ1TbdbCA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7qqnoLqk2uC_S0VwZW_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XikBDVYEqmscrxk6n7v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iJ06f1qEOGQ9YDyfkk0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wqezprvEO7dExXyzB25A"/>
</p:tagLst>
</file>

<file path=ppt/theme/theme1.xml><?xml version="1.0" encoding="utf-8"?>
<a:theme xmlns:a="http://schemas.openxmlformats.org/drawingml/2006/main" name="blank">
  <a:themeElements>
    <a:clrScheme name="Custom 1">
      <a:dk1>
        <a:sysClr val="windowText" lastClr="000000"/>
      </a:dk1>
      <a:lt1>
        <a:sysClr val="window" lastClr="FFFFFF"/>
      </a:lt1>
      <a:dk2>
        <a:srgbClr val="005AAA"/>
      </a:dk2>
      <a:lt2>
        <a:srgbClr val="EEECE1"/>
      </a:lt2>
      <a:accent1>
        <a:srgbClr val="0094B3"/>
      </a:accent1>
      <a:accent2>
        <a:srgbClr val="A70240"/>
      </a:accent2>
      <a:accent3>
        <a:srgbClr val="6A7F10"/>
      </a:accent3>
      <a:accent4>
        <a:srgbClr val="4F4C25"/>
      </a:accent4>
      <a:accent5>
        <a:srgbClr val="F26422"/>
      </a:accent5>
      <a:accent6>
        <a:srgbClr val="9A9B9C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rgbClr val="595959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blank">
  <a:themeElements>
    <a:clrScheme name="CFI final">
      <a:dk1>
        <a:srgbClr val="000000"/>
      </a:dk1>
      <a:lt1>
        <a:srgbClr val="FFFFFF"/>
      </a:lt1>
      <a:dk2>
        <a:srgbClr val="0064AD"/>
      </a:dk2>
      <a:lt2>
        <a:srgbClr val="6A7F10"/>
      </a:lt2>
      <a:accent1>
        <a:srgbClr val="FA9600"/>
      </a:accent1>
      <a:accent2>
        <a:srgbClr val="A70240"/>
      </a:accent2>
      <a:accent3>
        <a:srgbClr val="808080"/>
      </a:accent3>
      <a:accent4>
        <a:srgbClr val="000000"/>
      </a:accent4>
      <a:accent5>
        <a:srgbClr val="0094B3"/>
      </a:accent5>
      <a:accent6>
        <a:srgbClr val="AABFA2"/>
      </a:accent6>
      <a:hlink>
        <a:srgbClr val="FDC689"/>
      </a:hlink>
      <a:folHlink>
        <a:srgbClr val="DF8A96"/>
      </a:folHlink>
    </a:clrScheme>
    <a:fontScheme name="2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>
          <a:solidFill>
            <a:schemeClr val="accent6"/>
          </a:solidFill>
        </a:ln>
        <a:effectLst/>
        <a:ex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i="0" u="none" strike="noStrike" normalizeH="0" baseline="0" dirty="0" err="1" smtClean="0">
            <a:effectLst/>
            <a:latin typeface="Arial" pitchFamily="34" charset="0"/>
          </a:defRPr>
        </a:defPPr>
      </a:lstStyle>
    </a:spDef>
    <a:lnDef>
      <a:spPr bwMode="auto">
        <a:solidFill>
          <a:schemeClr val="accent1"/>
        </a:solidFill>
        <a:ln w="19050" cap="flat" cmpd="sng" algn="ctr">
          <a:solidFill>
            <a:schemeClr val="bg2"/>
          </a:solidFill>
          <a:prstDash val="solid"/>
          <a:round/>
          <a:headEnd type="none" w="med" len="med"/>
          <a:tailEnd type="none" w="lg" len="med"/>
        </a:ln>
        <a:effectLst/>
        <a:extLst/>
      </a:spPr>
      <a:bodyPr/>
      <a:lstStyle/>
    </a:lnDef>
    <a:txDef>
      <a:spPr>
        <a:noFill/>
      </a:spPr>
      <a:bodyPr wrap="square" rtlCol="0">
        <a:noAutofit/>
      </a:bodyPr>
      <a:lstStyle>
        <a:defPPr algn="l">
          <a:defRPr sz="1600" dirty="0" smtClean="0">
            <a:solidFill>
              <a:schemeClr val="tx1"/>
            </a:solidFill>
            <a:effectLst/>
          </a:defRPr>
        </a:defPPr>
      </a:lstStyle>
    </a:txDef>
  </a:objectDefaults>
  <a:extraClrSchemeLst>
    <a:extraClrScheme>
      <a:clrScheme name="2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6A7F10"/>
        </a:accent1>
        <a:accent2>
          <a:srgbClr val="A70240"/>
        </a:accent2>
        <a:accent3>
          <a:srgbClr val="FFFFFF"/>
        </a:accent3>
        <a:accent4>
          <a:srgbClr val="000000"/>
        </a:accent4>
        <a:accent5>
          <a:srgbClr val="B9C0AA"/>
        </a:accent5>
        <a:accent6>
          <a:srgbClr val="970239"/>
        </a:accent6>
        <a:hlink>
          <a:srgbClr val="0064AD"/>
        </a:hlink>
        <a:folHlink>
          <a:srgbClr val="DE84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Blank">
  <a:themeElements>
    <a:clrScheme name="CF INSIGHTS_DEFAULT">
      <a:dk1>
        <a:srgbClr val="000000"/>
      </a:dk1>
      <a:lt1>
        <a:srgbClr val="FFFFFF"/>
      </a:lt1>
      <a:dk2>
        <a:srgbClr val="0064AD"/>
      </a:dk2>
      <a:lt2>
        <a:srgbClr val="6A7F10"/>
      </a:lt2>
      <a:accent1>
        <a:srgbClr val="FA9600"/>
      </a:accent1>
      <a:accent2>
        <a:srgbClr val="A70240"/>
      </a:accent2>
      <a:accent3>
        <a:srgbClr val="808080"/>
      </a:accent3>
      <a:accent4>
        <a:srgbClr val="000000"/>
      </a:accent4>
      <a:accent5>
        <a:srgbClr val="0094B3"/>
      </a:accent5>
      <a:accent6>
        <a:srgbClr val="AABFA2"/>
      </a:accent6>
      <a:hlink>
        <a:srgbClr val="0064AD"/>
      </a:hlink>
      <a:folHlink>
        <a:srgbClr val="0064AD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>
          <a:outerShdw dist="35921" dir="2700000" algn="ctr" rotWithShape="0">
            <a:schemeClr val="tx1"/>
          </a:outerShdw>
        </a:effectLst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>
          <a:outerShdw dist="35921" dir="2700000" algn="ctr" rotWithShape="0">
            <a:schemeClr val="tx1"/>
          </a:outerShdw>
        </a:effectLst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6A7F10"/>
        </a:accent1>
        <a:accent2>
          <a:srgbClr val="A70240"/>
        </a:accent2>
        <a:accent3>
          <a:srgbClr val="FFFFFF"/>
        </a:accent3>
        <a:accent4>
          <a:srgbClr val="000000"/>
        </a:accent4>
        <a:accent5>
          <a:srgbClr val="B9C0AA"/>
        </a:accent5>
        <a:accent6>
          <a:srgbClr val="970239"/>
        </a:accent6>
        <a:hlink>
          <a:srgbClr val="0064AD"/>
        </a:hlink>
        <a:folHlink>
          <a:srgbClr val="DE84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Philanthropy SW Presentation">
  <a:themeElements>
    <a:clrScheme name="CF Insights">
      <a:dk1>
        <a:sysClr val="windowText" lastClr="000000"/>
      </a:dk1>
      <a:lt1>
        <a:sysClr val="window" lastClr="FFFFFF"/>
      </a:lt1>
      <a:dk2>
        <a:srgbClr val="1F497D"/>
      </a:dk2>
      <a:lt2>
        <a:srgbClr val="FFFFFF"/>
      </a:lt2>
      <a:accent1>
        <a:srgbClr val="366092"/>
      </a:accent1>
      <a:accent2>
        <a:srgbClr val="953734"/>
      </a:accent2>
      <a:accent3>
        <a:srgbClr val="76923C"/>
      </a:accent3>
      <a:accent4>
        <a:srgbClr val="5F497A"/>
      </a:accent4>
      <a:accent5>
        <a:srgbClr val="31859B"/>
      </a:accent5>
      <a:accent6>
        <a:srgbClr val="E36C09"/>
      </a:accent6>
      <a:hlink>
        <a:srgbClr val="0000BF"/>
      </a:hlink>
      <a:folHlink>
        <a:srgbClr val="5F006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CF Insights Content Slide">
  <a:themeElements>
    <a:clrScheme name="CF Insights">
      <a:dk1>
        <a:sysClr val="windowText" lastClr="000000"/>
      </a:dk1>
      <a:lt1>
        <a:sysClr val="window" lastClr="FFFFFF"/>
      </a:lt1>
      <a:dk2>
        <a:srgbClr val="1F497D"/>
      </a:dk2>
      <a:lt2>
        <a:srgbClr val="FFFFFF"/>
      </a:lt2>
      <a:accent1>
        <a:srgbClr val="366092"/>
      </a:accent1>
      <a:accent2>
        <a:srgbClr val="953734"/>
      </a:accent2>
      <a:accent3>
        <a:srgbClr val="76923C"/>
      </a:accent3>
      <a:accent4>
        <a:srgbClr val="5F497A"/>
      </a:accent4>
      <a:accent5>
        <a:srgbClr val="31859B"/>
      </a:accent5>
      <a:accent6>
        <a:srgbClr val="E36C09"/>
      </a:accent6>
      <a:hlink>
        <a:srgbClr val="0000BF"/>
      </a:hlink>
      <a:folHlink>
        <a:srgbClr val="5F006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CF INSIGHTS_DEFAULT">
    <a:dk1>
      <a:srgbClr val="000000"/>
    </a:dk1>
    <a:lt1>
      <a:srgbClr val="FFFFFF"/>
    </a:lt1>
    <a:dk2>
      <a:srgbClr val="0064AD"/>
    </a:dk2>
    <a:lt2>
      <a:srgbClr val="6A7F10"/>
    </a:lt2>
    <a:accent1>
      <a:srgbClr val="FA9600"/>
    </a:accent1>
    <a:accent2>
      <a:srgbClr val="A70240"/>
    </a:accent2>
    <a:accent3>
      <a:srgbClr val="808080"/>
    </a:accent3>
    <a:accent4>
      <a:srgbClr val="000000"/>
    </a:accent4>
    <a:accent5>
      <a:srgbClr val="0094B3"/>
    </a:accent5>
    <a:accent6>
      <a:srgbClr val="AABFA2"/>
    </a:accent6>
    <a:hlink>
      <a:srgbClr val="0064AD"/>
    </a:hlink>
    <a:folHlink>
      <a:srgbClr val="0064AD"/>
    </a:folHlink>
  </a:clrScheme>
  <a:fontScheme name="Default Design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19</TotalTime>
  <Words>2320</Words>
  <Application>Microsoft Office PowerPoint</Application>
  <PresentationFormat>On-screen Show (4:3)</PresentationFormat>
  <Paragraphs>539</Paragraphs>
  <Slides>27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3" baseType="lpstr">
      <vt:lpstr>blank</vt:lpstr>
      <vt:lpstr>3_blank</vt:lpstr>
      <vt:lpstr>1_Blank</vt:lpstr>
      <vt:lpstr>Philanthropy SW Presentation</vt:lpstr>
      <vt:lpstr>CF Insights Content Slide</vt:lpstr>
      <vt:lpstr>think-cell Slide</vt:lpstr>
      <vt:lpstr>WA Community Foundation Convening –  Business Model Conversation</vt:lpstr>
      <vt:lpstr>What Motivates You?</vt:lpstr>
      <vt:lpstr>What is a BUSINESS MODEL?</vt:lpstr>
      <vt:lpstr>CFs are continually adapting to changing needs and aspiring to greater growth and impact </vt:lpstr>
      <vt:lpstr>How does data show us different business model choices?   </vt:lpstr>
      <vt:lpstr>The DAF market represents the largest area of gifts, grants, and growth for CFs nationally</vt:lpstr>
      <vt:lpstr>But what motivates CFs to offer and grow DAFs?  </vt:lpstr>
      <vt:lpstr>“FOR GOOD FOREVER” COMMUNITY FOUNDATION</vt:lpstr>
      <vt:lpstr>“FOR GOOD FOREVER” COMMUNITY FOUNDATION</vt:lpstr>
      <vt:lpstr>“FUEL FOR CHANGE” COMMUNITY FOUNDATION</vt:lpstr>
      <vt:lpstr>“FUEL FOR CHANGE” COMMUNITY FOUNDATION</vt:lpstr>
      <vt:lpstr>“LEADER-TO-LEADER” COMMUNITY FOUNDATION</vt:lpstr>
      <vt:lpstr>“LEADER-TO-LEADER” COMMUNITY FOUNDATION</vt:lpstr>
      <vt:lpstr>“DIVERSE, GLOBAL, COMPREHENSIVE”  COMMUNITY FOUNDATION</vt:lpstr>
      <vt:lpstr>“DIVERSE, GLOBAL, COMPREHENSIVE”  COMMUNITY FOUNDATION</vt:lpstr>
      <vt:lpstr>Over the last decade, many CFs have more than doubled their efforts in community leadership</vt:lpstr>
      <vt:lpstr>The business model challenge is fitting together past, present, and future choices</vt:lpstr>
      <vt:lpstr>PowerPoint Presentation</vt:lpstr>
      <vt:lpstr>PowerPoint Presentation</vt:lpstr>
      <vt:lpstr>What can you see about your own CF through by learning across the network and beyond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creator>Carina Wendel</dc:creator>
  <cp:lastModifiedBy>Rebecca Graves</cp:lastModifiedBy>
  <cp:revision>65</cp:revision>
  <cp:lastPrinted>2015-07-30T20:57:05Z</cp:lastPrinted>
  <dcterms:created xsi:type="dcterms:W3CDTF">2015-07-30T15:35:57Z</dcterms:created>
  <dcterms:modified xsi:type="dcterms:W3CDTF">2015-10-30T20:34:42Z</dcterms:modified>
</cp:coreProperties>
</file>